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  <p:sldMasterId id="2147483674" r:id="rId5"/>
  </p:sldMasterIdLst>
  <p:notesMasterIdLst>
    <p:notesMasterId r:id="rId7"/>
  </p:notesMasterIdLst>
  <p:sldIdLst>
    <p:sldId id="1368" r:id="rId6"/>
  </p:sldIdLst>
  <p:sldSz cx="42808525" cy="30279975"/>
  <p:notesSz cx="6858000" cy="9144000"/>
  <p:embeddedFontLst>
    <p:embeddedFont>
      <p:font typeface="Abadi Extra Light" panose="020B0204020104020204" pitchFamily="34" charset="0"/>
      <p:regular r:id="rId8"/>
    </p:embeddedFont>
    <p:embeddedFont>
      <p:font typeface="Aharoni" panose="02010803020104030203" pitchFamily="2" charset="-79"/>
      <p:bold r:id="rId9"/>
    </p:embeddedFont>
    <p:embeddedFont>
      <p:font typeface="Bebas Neue" panose="020B0506020202020201" charset="0"/>
      <p:regular r:id="rId10"/>
    </p:embeddedFont>
    <p:embeddedFont>
      <p:font typeface="Calibri" panose="020F0502020204030204" pitchFamily="34" charset="0"/>
      <p:regular r:id="rId11"/>
      <p:bold r:id="rId12"/>
      <p:italic r:id="rId13"/>
      <p:boldItalic r:id="rId14"/>
    </p:embeddedFont>
    <p:embeddedFont>
      <p:font typeface="Calibri Light" panose="020F0302020204030204" pitchFamily="34" charset="0"/>
      <p:regular r:id="rId15"/>
      <p:italic r:id="rId16"/>
    </p:embeddedFont>
    <p:embeddedFont>
      <p:font typeface="Gotham Rounded Bold" pitchFamily="50" charset="0"/>
      <p:regular r:id="rId17"/>
      <p:italic r:id="rId18"/>
    </p:embeddedFont>
    <p:embeddedFont>
      <p:font typeface="Michelin SemiBold" panose="02000000000000000000" pitchFamily="50" charset="0"/>
      <p:regular r:id="rId19"/>
      <p:bold r:id="rId20"/>
    </p:embeddedFont>
  </p:embeddedFontLst>
  <p:defaultTextStyle>
    <a:defPPr>
      <a:defRPr lang="fr-FR"/>
    </a:defPPr>
    <a:lvl1pPr algn="l" defTabSz="4175125" rtl="0" eaLnBrk="0" fontAlgn="base" hangingPunct="0">
      <a:spcBef>
        <a:spcPct val="0"/>
      </a:spcBef>
      <a:spcAft>
        <a:spcPct val="0"/>
      </a:spcAft>
      <a:defRPr sz="8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2087563" indent="-1630363" algn="l" defTabSz="4175125" rtl="0" eaLnBrk="0" fontAlgn="base" hangingPunct="0">
      <a:spcBef>
        <a:spcPct val="0"/>
      </a:spcBef>
      <a:spcAft>
        <a:spcPct val="0"/>
      </a:spcAft>
      <a:defRPr sz="8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4175125" indent="-3260725" algn="l" defTabSz="4175125" rtl="0" eaLnBrk="0" fontAlgn="base" hangingPunct="0">
      <a:spcBef>
        <a:spcPct val="0"/>
      </a:spcBef>
      <a:spcAft>
        <a:spcPct val="0"/>
      </a:spcAft>
      <a:defRPr sz="8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6264275" indent="-4892675" algn="l" defTabSz="4175125" rtl="0" eaLnBrk="0" fontAlgn="base" hangingPunct="0">
      <a:spcBef>
        <a:spcPct val="0"/>
      </a:spcBef>
      <a:spcAft>
        <a:spcPct val="0"/>
      </a:spcAft>
      <a:defRPr sz="8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8351838" indent="-6523038" algn="l" defTabSz="4175125" rtl="0" eaLnBrk="0" fontAlgn="base" hangingPunct="0">
      <a:spcBef>
        <a:spcPct val="0"/>
      </a:spcBef>
      <a:spcAft>
        <a:spcPct val="0"/>
      </a:spcAft>
      <a:defRPr sz="8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sz="8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sz="8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sz="8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sz="8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37">
          <p15:clr>
            <a:srgbClr val="A4A3A4"/>
          </p15:clr>
        </p15:guide>
        <p15:guide id="2" pos="13483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7348B"/>
    <a:srgbClr val="204B7F"/>
    <a:srgbClr val="CCCC00"/>
    <a:srgbClr val="00A19A"/>
    <a:srgbClr val="059643"/>
    <a:srgbClr val="FFFFFF"/>
    <a:srgbClr val="2C3E50"/>
    <a:srgbClr val="27509B"/>
    <a:srgbClr val="00CC9B"/>
    <a:srgbClr val="72C0C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BCD0F39-B661-4A91-91A9-2DC68EC1EFDE}" v="3" dt="2020-10-20T16:40:48.40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886" autoAdjust="0"/>
    <p:restoredTop sz="95706" autoAdjust="0"/>
  </p:normalViewPr>
  <p:slideViewPr>
    <p:cSldViewPr>
      <p:cViewPr>
        <p:scale>
          <a:sx n="26" d="100"/>
          <a:sy n="26" d="100"/>
        </p:scale>
        <p:origin x="957" y="63"/>
      </p:cViewPr>
      <p:guideLst>
        <p:guide orient="horz" pos="9537"/>
        <p:guide pos="13483"/>
      </p:guideLst>
    </p:cSldViewPr>
  </p:slideViewPr>
  <p:notesTextViewPr>
    <p:cViewPr>
      <p:scale>
        <a:sx n="20" d="100"/>
        <a:sy n="2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font" Target="fonts/font11.fntdata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5.fntdata"/><Relationship Id="rId17" Type="http://schemas.openxmlformats.org/officeDocument/2006/relationships/font" Target="fonts/font10.fntdata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font" Target="fonts/font9.fntdata"/><Relationship Id="rId20" Type="http://schemas.openxmlformats.org/officeDocument/2006/relationships/font" Target="fonts/font13.fntdata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font" Target="fonts/font4.fntdata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font" Target="fonts/font8.fntdata"/><Relationship Id="rId23" Type="http://schemas.openxmlformats.org/officeDocument/2006/relationships/theme" Target="theme/theme1.xml"/><Relationship Id="rId10" Type="http://schemas.openxmlformats.org/officeDocument/2006/relationships/font" Target="fonts/font3.fntdata"/><Relationship Id="rId19" Type="http://schemas.openxmlformats.org/officeDocument/2006/relationships/font" Target="fonts/font12.fntdata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font" Target="fonts/font7.fntdata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icolas chevalier" userId="677dbc9f-a297-4ad6-b248-57777f1689e8" providerId="ADAL" clId="{5BCD0F39-B661-4A91-91A9-2DC68EC1EFDE}"/>
    <pc:docChg chg="modSld">
      <pc:chgData name="nicolas chevalier" userId="677dbc9f-a297-4ad6-b248-57777f1689e8" providerId="ADAL" clId="{5BCD0F39-B661-4A91-91A9-2DC68EC1EFDE}" dt="2020-10-20T16:44:11.190" v="15" actId="14100"/>
      <pc:docMkLst>
        <pc:docMk/>
      </pc:docMkLst>
      <pc:sldChg chg="addSp delSp modSp mod">
        <pc:chgData name="nicolas chevalier" userId="677dbc9f-a297-4ad6-b248-57777f1689e8" providerId="ADAL" clId="{5BCD0F39-B661-4A91-91A9-2DC68EC1EFDE}" dt="2020-10-20T16:44:11.190" v="15" actId="14100"/>
        <pc:sldMkLst>
          <pc:docMk/>
          <pc:sldMk cId="248493667" sldId="1368"/>
        </pc:sldMkLst>
        <pc:spChg chg="mod">
          <ac:chgData name="nicolas chevalier" userId="677dbc9f-a297-4ad6-b248-57777f1689e8" providerId="ADAL" clId="{5BCD0F39-B661-4A91-91A9-2DC68EC1EFDE}" dt="2020-10-20T16:41:28.983" v="10" actId="1076"/>
          <ac:spMkLst>
            <pc:docMk/>
            <pc:sldMk cId="248493667" sldId="1368"/>
            <ac:spMk id="5" creationId="{0F588DFF-C2AE-438A-A0B4-0172F3A88391}"/>
          </ac:spMkLst>
        </pc:spChg>
        <pc:spChg chg="mod">
          <ac:chgData name="nicolas chevalier" userId="677dbc9f-a297-4ad6-b248-57777f1689e8" providerId="ADAL" clId="{5BCD0F39-B661-4A91-91A9-2DC68EC1EFDE}" dt="2020-10-20T16:40:29.488" v="1" actId="6549"/>
          <ac:spMkLst>
            <pc:docMk/>
            <pc:sldMk cId="248493667" sldId="1368"/>
            <ac:spMk id="28" creationId="{7E36AC80-5391-491B-AE18-9DEFF3B3C1C1}"/>
          </ac:spMkLst>
        </pc:spChg>
        <pc:spChg chg="mod">
          <ac:chgData name="nicolas chevalier" userId="677dbc9f-a297-4ad6-b248-57777f1689e8" providerId="ADAL" clId="{5BCD0F39-B661-4A91-91A9-2DC68EC1EFDE}" dt="2020-10-20T16:44:05.190" v="14" actId="207"/>
          <ac:spMkLst>
            <pc:docMk/>
            <pc:sldMk cId="248493667" sldId="1368"/>
            <ac:spMk id="531" creationId="{4323A6CD-0F42-4D16-B076-DA453638024F}"/>
          </ac:spMkLst>
        </pc:spChg>
        <pc:picChg chg="mod">
          <ac:chgData name="nicolas chevalier" userId="677dbc9f-a297-4ad6-b248-57777f1689e8" providerId="ADAL" clId="{5BCD0F39-B661-4A91-91A9-2DC68EC1EFDE}" dt="2020-10-20T16:40:58.046" v="4" actId="1076"/>
          <ac:picMkLst>
            <pc:docMk/>
            <pc:sldMk cId="248493667" sldId="1368"/>
            <ac:picMk id="3" creationId="{41100ACA-43DB-4A78-810C-E1FF59C76702}"/>
          </ac:picMkLst>
        </pc:picChg>
        <pc:picChg chg="del">
          <ac:chgData name="nicolas chevalier" userId="677dbc9f-a297-4ad6-b248-57777f1689e8" providerId="ADAL" clId="{5BCD0F39-B661-4A91-91A9-2DC68EC1EFDE}" dt="2020-10-20T16:40:26.624" v="0" actId="478"/>
          <ac:picMkLst>
            <pc:docMk/>
            <pc:sldMk cId="248493667" sldId="1368"/>
            <ac:picMk id="7" creationId="{6672D5F6-9AC5-45DB-BB61-4076946EE185}"/>
          </ac:picMkLst>
        </pc:picChg>
        <pc:picChg chg="add mod">
          <ac:chgData name="nicolas chevalier" userId="677dbc9f-a297-4ad6-b248-57777f1689e8" providerId="ADAL" clId="{5BCD0F39-B661-4A91-91A9-2DC68EC1EFDE}" dt="2020-10-20T16:44:11.190" v="15" actId="14100"/>
          <ac:picMkLst>
            <pc:docMk/>
            <pc:sldMk cId="248493667" sldId="1368"/>
            <ac:picMk id="8" creationId="{F58B240E-1BAC-4970-B703-B63655C76E84}"/>
          </ac:picMkLst>
        </pc:picChg>
        <pc:picChg chg="del">
          <ac:chgData name="nicolas chevalier" userId="677dbc9f-a297-4ad6-b248-57777f1689e8" providerId="ADAL" clId="{5BCD0F39-B661-4A91-91A9-2DC68EC1EFDE}" dt="2020-10-20T16:40:48.407" v="3" actId="478"/>
          <ac:picMkLst>
            <pc:docMk/>
            <pc:sldMk cId="248493667" sldId="1368"/>
            <ac:picMk id="532" creationId="{15358F2F-058E-4242-AA5D-FC8396041AB0}"/>
          </ac:picMkLst>
        </pc:picChg>
        <pc:picChg chg="del">
          <ac:chgData name="nicolas chevalier" userId="677dbc9f-a297-4ad6-b248-57777f1689e8" providerId="ADAL" clId="{5BCD0F39-B661-4A91-91A9-2DC68EC1EFDE}" dt="2020-10-20T16:40:47.052" v="2" actId="478"/>
          <ac:picMkLst>
            <pc:docMk/>
            <pc:sldMk cId="248493667" sldId="1368"/>
            <ac:picMk id="533" creationId="{B6AF3FD2-4EB2-4B46-B3EE-BDE1B697095D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9DF77F26-7F0B-40C6-A144-6A61B5C8CF9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4176431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F6557624-2430-4BF2-89FD-06298F05FF6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4176431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1831027C-32F8-4A5A-B821-3F0510263E61}" type="datetimeFigureOut">
              <a:rPr lang="fr-FR"/>
              <a:pPr>
                <a:defRPr/>
              </a:pPr>
              <a:t>20/10/2020</a:t>
            </a:fld>
            <a:endParaRPr lang="fr-FR"/>
          </a:p>
        </p:txBody>
      </p:sp>
      <p:sp>
        <p:nvSpPr>
          <p:cNvPr id="4" name="Espace réservé de l'image des diapositives 3">
            <a:extLst>
              <a:ext uri="{FF2B5EF4-FFF2-40B4-BE49-F238E27FC236}">
                <a16:creationId xmlns:a16="http://schemas.microsoft.com/office/drawing/2014/main" id="{D1E40B12-AF94-4B6B-A29C-AEFE72E3186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006475" y="685800"/>
            <a:ext cx="484505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FR" noProof="0"/>
          </a:p>
        </p:txBody>
      </p:sp>
      <p:sp>
        <p:nvSpPr>
          <p:cNvPr id="5" name="Espace réservé des commentaires 4">
            <a:extLst>
              <a:ext uri="{FF2B5EF4-FFF2-40B4-BE49-F238E27FC236}">
                <a16:creationId xmlns:a16="http://schemas.microsoft.com/office/drawing/2014/main" id="{C040D0CD-3B3C-4475-BB49-8277E129F2B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6E301C32-3465-46CB-9026-4676D573B73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4176431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DD1CC87D-6252-43D1-8509-A2210527DB6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defTabSz="4176431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A7CCEEB8-ECB4-41E6-A735-6D75225D4A5B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defTabSz="4175125" rtl="0" fontAlgn="base">
      <a:spcBef>
        <a:spcPct val="30000"/>
      </a:spcBef>
      <a:spcAft>
        <a:spcPct val="0"/>
      </a:spcAft>
      <a:defRPr sz="5500" kern="1200">
        <a:solidFill>
          <a:schemeClr val="tx1"/>
        </a:solidFill>
        <a:latin typeface="+mn-lt"/>
        <a:ea typeface="+mn-ea"/>
        <a:cs typeface="+mn-cs"/>
      </a:defRPr>
    </a:lvl1pPr>
    <a:lvl2pPr marL="2087563" algn="l" defTabSz="4175125" rtl="0" fontAlgn="base">
      <a:spcBef>
        <a:spcPct val="30000"/>
      </a:spcBef>
      <a:spcAft>
        <a:spcPct val="0"/>
      </a:spcAft>
      <a:defRPr sz="5500" kern="1200">
        <a:solidFill>
          <a:schemeClr val="tx1"/>
        </a:solidFill>
        <a:latin typeface="+mn-lt"/>
        <a:ea typeface="+mn-ea"/>
        <a:cs typeface="+mn-cs"/>
      </a:defRPr>
    </a:lvl2pPr>
    <a:lvl3pPr marL="4175125" algn="l" defTabSz="4175125" rtl="0" fontAlgn="base">
      <a:spcBef>
        <a:spcPct val="30000"/>
      </a:spcBef>
      <a:spcAft>
        <a:spcPct val="0"/>
      </a:spcAft>
      <a:defRPr sz="5500" kern="1200">
        <a:solidFill>
          <a:schemeClr val="tx1"/>
        </a:solidFill>
        <a:latin typeface="+mn-lt"/>
        <a:ea typeface="+mn-ea"/>
        <a:cs typeface="+mn-cs"/>
      </a:defRPr>
    </a:lvl3pPr>
    <a:lvl4pPr marL="6264275" algn="l" defTabSz="4175125" rtl="0" fontAlgn="base">
      <a:spcBef>
        <a:spcPct val="30000"/>
      </a:spcBef>
      <a:spcAft>
        <a:spcPct val="0"/>
      </a:spcAft>
      <a:defRPr sz="5500" kern="1200">
        <a:solidFill>
          <a:schemeClr val="tx1"/>
        </a:solidFill>
        <a:latin typeface="+mn-lt"/>
        <a:ea typeface="+mn-ea"/>
        <a:cs typeface="+mn-cs"/>
      </a:defRPr>
    </a:lvl4pPr>
    <a:lvl5pPr marL="8351838" algn="l" defTabSz="4175125" rtl="0" fontAlgn="base">
      <a:spcBef>
        <a:spcPct val="30000"/>
      </a:spcBef>
      <a:spcAft>
        <a:spcPct val="0"/>
      </a:spcAft>
      <a:defRPr sz="5500" kern="1200">
        <a:solidFill>
          <a:schemeClr val="tx1"/>
        </a:solidFill>
        <a:latin typeface="+mn-lt"/>
        <a:ea typeface="+mn-ea"/>
        <a:cs typeface="+mn-cs"/>
      </a:defRPr>
    </a:lvl5pPr>
    <a:lvl6pPr marL="10441076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6pPr>
    <a:lvl7pPr marL="12529292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7pPr>
    <a:lvl8pPr marL="14617507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8pPr>
    <a:lvl9pPr marL="16705722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210640" y="9406420"/>
            <a:ext cx="36387246" cy="649056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6421279" y="17158652"/>
            <a:ext cx="29965968" cy="7738216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20882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41764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6264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8352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0441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2529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46175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16705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1028E811-9D59-45AB-A87A-BF6F50F454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7EDA7A-4D20-4B99-9F13-2BE3E5F29A0A}" type="datetimeFigureOut">
              <a:rPr lang="fr-FR"/>
              <a:pPr>
                <a:defRPr/>
              </a:pPr>
              <a:t>20/10/2020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E06721D-F085-42FF-8809-A57B4B791B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455D172-43FB-4B1D-8A11-00C8CCD270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B762F7-3D5E-4847-99A5-B7599A0CE46F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047241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B5E921A-41F6-47DC-940E-14CF3B6F33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945EB2-5ED8-4E8B-B4E0-AA65A1413154}" type="datetimeFigureOut">
              <a:rPr lang="fr-FR"/>
              <a:pPr>
                <a:defRPr/>
              </a:pPr>
              <a:t>20/10/2020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9FA0E3B-85CE-4CF9-82D2-33C2DE2748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B45919E-4D70-44A0-BB36-1E60F27D3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14C8F3-58BB-4DD4-8F38-7B9936DF4DCB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243868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145303730" y="5355072"/>
            <a:ext cx="45090158" cy="114075602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0018386" y="5355072"/>
            <a:ext cx="134571871" cy="114075602"/>
          </a:xfrm>
        </p:spPr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35D0A3E-42DC-4945-80AE-581EE9D3CE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0943C4-01E3-4692-A0BB-72DE37C02FAD}" type="datetimeFigureOut">
              <a:rPr lang="fr-FR"/>
              <a:pPr>
                <a:defRPr/>
              </a:pPr>
              <a:t>20/10/2020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1396EFA-9937-4F35-B46C-2A00C6D386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54D6FA6D-E6F9-49B4-9CBA-242C01AD29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53D575-2D83-4AD3-9402-83B52BEA2A88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799401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6" hidden="1">
            <a:extLst>
              <a:ext uri="{FF2B5EF4-FFF2-40B4-BE49-F238E27FC236}">
                <a16:creationId xmlns:a16="http://schemas.microsoft.com/office/drawing/2014/main" id="{A0F355B4-8698-4A5D-9B83-F7581FA485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7938" y="9525"/>
          <a:ext cx="6350" cy="9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3" name="Objet 6" hidden="1">
                        <a:extLst>
                          <a:ext uri="{FF2B5EF4-FFF2-40B4-BE49-F238E27FC236}">
                            <a16:creationId xmlns:a16="http://schemas.microsoft.com/office/drawing/2014/main" id="{A0F355B4-8698-4A5D-9B83-F7581FA4856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938" y="9525"/>
                        <a:ext cx="6350" cy="95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6268659-0259-4482-85EE-520B90A24A8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742950" cy="9350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176431" eaLnBrk="1" fontAlgn="auto" hangingPunct="1">
              <a:defRPr/>
            </a:pPr>
            <a:endParaRPr lang="fr-FR" sz="8427">
              <a:latin typeface="Michelin SemiBold" panose="02000000000000000000" pitchFamily="50" charset="0"/>
              <a:ea typeface="+mj-ea"/>
              <a:cs typeface="+mj-cs"/>
              <a:sym typeface="Michelin SemiBold" panose="02000000000000000000" pitchFamily="50" charset="0"/>
            </a:endParaRPr>
          </a:p>
        </p:txBody>
      </p:sp>
      <p:pic>
        <p:nvPicPr>
          <p:cNvPr id="5" name="Picture 4" descr="C:\Users\F299251\Documents\INFORMATION TECHNOLOGY\STRATEGY\2018\EVERGREEN\stars-04.png">
            <a:extLst>
              <a:ext uri="{FF2B5EF4-FFF2-40B4-BE49-F238E27FC236}">
                <a16:creationId xmlns:a16="http://schemas.microsoft.com/office/drawing/2014/main" id="{8D5C4C0D-DB07-4239-8C5A-DD0E5AA1797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35038" y="17495838"/>
            <a:ext cx="5345113" cy="2619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itre 1">
            <a:extLst>
              <a:ext uri="{FF2B5EF4-FFF2-40B4-BE49-F238E27FC236}">
                <a16:creationId xmlns:a16="http://schemas.microsoft.com/office/drawing/2014/main" id="{FE9426FE-A8D3-4679-ACAF-C12399C0B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8640" y="1281231"/>
            <a:ext cx="36745257" cy="1614826"/>
          </a:xfrm>
          <a:prstGeom prst="rect">
            <a:avLst/>
          </a:prstGeom>
        </p:spPr>
        <p:txBody>
          <a:bodyPr/>
          <a:lstStyle>
            <a:lvl1pPr algn="l">
              <a:defRPr sz="8427" b="0" i="0">
                <a:solidFill>
                  <a:srgbClr val="395EA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4923494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 flipV="1">
            <a:off x="7" y="25622740"/>
            <a:ext cx="42808514" cy="4657235"/>
          </a:xfrm>
          <a:prstGeom prst="rect">
            <a:avLst/>
          </a:prstGeom>
          <a:solidFill>
            <a:srgbClr val="EAEAEA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321074" tIns="160535" rIns="321074" bIns="160535" numCol="1" anchor="t" anchorCtr="0" compatLnSpc="1">
            <a:prstTxWarp prst="textNoShape">
              <a:avLst/>
            </a:prstTxWarp>
          </a:bodyPr>
          <a:lstStyle/>
          <a:p>
            <a:pPr lvl="0"/>
            <a:endParaRPr lang="de-DE" sz="28796" dirty="0"/>
          </a:p>
        </p:txBody>
      </p:sp>
      <p:sp>
        <p:nvSpPr>
          <p:cNvPr id="9" name="Rechteck 8"/>
          <p:cNvSpPr/>
          <p:nvPr userDrawn="1"/>
        </p:nvSpPr>
        <p:spPr bwMode="auto">
          <a:xfrm>
            <a:off x="7" y="0"/>
            <a:ext cx="42808514" cy="2562274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321074" tIns="160535" rIns="321074" bIns="160535" numCol="1" anchor="t" anchorCtr="0" compatLnSpc="1">
            <a:prstTxWarp prst="textNoShape">
              <a:avLst/>
            </a:prstTxWarp>
          </a:bodyPr>
          <a:lstStyle/>
          <a:p>
            <a:pPr lvl="0"/>
            <a:endParaRPr lang="de-DE" sz="28796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N°›</a:t>
            </a:fld>
            <a:endParaRPr lang="en-US" dirty="0"/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3667488" y="2"/>
            <a:ext cx="35473559" cy="16519501"/>
          </a:xfrm>
        </p:spPr>
        <p:txBody>
          <a:bodyPr anchor="b" anchorCtr="0">
            <a:noAutofit/>
          </a:bodyPr>
          <a:lstStyle>
            <a:lvl1pPr algn="ctr">
              <a:lnSpc>
                <a:spcPct val="80000"/>
              </a:lnSpc>
              <a:defRPr sz="30903" b="0" cap="all">
                <a:solidFill>
                  <a:schemeClr val="bg1"/>
                </a:solidFill>
                <a:latin typeface="Bebas Neue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idx="1"/>
          </p:nvPr>
        </p:nvSpPr>
        <p:spPr>
          <a:xfrm>
            <a:off x="3667488" y="16519503"/>
            <a:ext cx="35473559" cy="9103239"/>
          </a:xfrm>
        </p:spPr>
        <p:txBody>
          <a:bodyPr anchor="t" anchorCtr="0"/>
          <a:lstStyle>
            <a:lvl1pPr marL="0" indent="0" algn="ctr">
              <a:lnSpc>
                <a:spcPct val="80000"/>
              </a:lnSpc>
              <a:buNone/>
              <a:defRPr sz="15451">
                <a:solidFill>
                  <a:srgbClr val="B2B2B2"/>
                </a:solidFill>
              </a:defRPr>
            </a:lvl1pPr>
            <a:lvl2pPr marL="1605549" indent="0">
              <a:buNone/>
              <a:defRPr sz="6321">
                <a:solidFill>
                  <a:schemeClr val="tx1">
                    <a:tint val="75000"/>
                  </a:schemeClr>
                </a:solidFill>
              </a:defRPr>
            </a:lvl2pPr>
            <a:lvl3pPr marL="3211098" indent="0">
              <a:buNone/>
              <a:defRPr sz="5619">
                <a:solidFill>
                  <a:schemeClr val="tx1">
                    <a:tint val="75000"/>
                  </a:schemeClr>
                </a:solidFill>
              </a:defRPr>
            </a:lvl3pPr>
            <a:lvl4pPr marL="4816648" indent="0">
              <a:buNone/>
              <a:defRPr sz="4916">
                <a:solidFill>
                  <a:schemeClr val="tx1">
                    <a:tint val="75000"/>
                  </a:schemeClr>
                </a:solidFill>
              </a:defRPr>
            </a:lvl4pPr>
            <a:lvl5pPr marL="6422197" indent="0">
              <a:buNone/>
              <a:defRPr sz="4916">
                <a:solidFill>
                  <a:schemeClr val="tx1">
                    <a:tint val="75000"/>
                  </a:schemeClr>
                </a:solidFill>
              </a:defRPr>
            </a:lvl5pPr>
            <a:lvl6pPr marL="8027746" indent="0">
              <a:buNone/>
              <a:defRPr sz="4916">
                <a:solidFill>
                  <a:schemeClr val="tx1">
                    <a:tint val="75000"/>
                  </a:schemeClr>
                </a:solidFill>
              </a:defRPr>
            </a:lvl6pPr>
            <a:lvl7pPr marL="9633295" indent="0">
              <a:buNone/>
              <a:defRPr sz="4916">
                <a:solidFill>
                  <a:schemeClr val="tx1">
                    <a:tint val="75000"/>
                  </a:schemeClr>
                </a:solidFill>
              </a:defRPr>
            </a:lvl7pPr>
            <a:lvl8pPr marL="11238845" indent="0">
              <a:buNone/>
              <a:defRPr sz="4916">
                <a:solidFill>
                  <a:schemeClr val="tx1">
                    <a:tint val="75000"/>
                  </a:schemeClr>
                </a:solidFill>
              </a:defRPr>
            </a:lvl8pPr>
            <a:lvl9pPr marL="12844394" indent="0">
              <a:buNone/>
              <a:defRPr sz="49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319989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2465169-C8A2-4279-A96D-19888A6B5A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726860-10A1-45E9-8651-EBB9C65EFF6A}" type="datetimeFigureOut">
              <a:rPr lang="fr-FR"/>
              <a:pPr>
                <a:defRPr/>
              </a:pPr>
              <a:t>20/10/2020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2320B51-6042-4D11-8DF0-7FD1E79E51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A762D6BB-A3A9-4228-BDC3-2157E3BFD9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09FDED-03C2-42EE-8926-EBCB69B7D549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460925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381579" y="19457690"/>
            <a:ext cx="36387246" cy="6013939"/>
          </a:xfrm>
        </p:spPr>
        <p:txBody>
          <a:bodyPr anchor="t"/>
          <a:lstStyle>
            <a:lvl1pPr algn="l">
              <a:defRPr sz="18300" b="1" cap="all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3381579" y="12833948"/>
            <a:ext cx="36387246" cy="6623742"/>
          </a:xfrm>
        </p:spPr>
        <p:txBody>
          <a:bodyPr anchor="b"/>
          <a:lstStyle>
            <a:lvl1pPr marL="0" indent="0">
              <a:buNone/>
              <a:defRPr sz="9100">
                <a:solidFill>
                  <a:schemeClr val="tx1">
                    <a:tint val="75000"/>
                  </a:schemeClr>
                </a:solidFill>
              </a:defRPr>
            </a:lvl1pPr>
            <a:lvl2pPr marL="2088215" indent="0">
              <a:buNone/>
              <a:defRPr sz="8200">
                <a:solidFill>
                  <a:schemeClr val="tx1">
                    <a:tint val="75000"/>
                  </a:schemeClr>
                </a:solidFill>
              </a:defRPr>
            </a:lvl2pPr>
            <a:lvl3pPr marL="4176431" indent="0">
              <a:buNone/>
              <a:defRPr sz="7300">
                <a:solidFill>
                  <a:schemeClr val="tx1">
                    <a:tint val="75000"/>
                  </a:schemeClr>
                </a:solidFill>
              </a:defRPr>
            </a:lvl3pPr>
            <a:lvl4pPr marL="6264646" indent="0">
              <a:buNone/>
              <a:defRPr sz="6400">
                <a:solidFill>
                  <a:schemeClr val="tx1">
                    <a:tint val="75000"/>
                  </a:schemeClr>
                </a:solidFill>
              </a:defRPr>
            </a:lvl4pPr>
            <a:lvl5pPr marL="8352861" indent="0">
              <a:buNone/>
              <a:defRPr sz="6400">
                <a:solidFill>
                  <a:schemeClr val="tx1">
                    <a:tint val="75000"/>
                  </a:schemeClr>
                </a:solidFill>
              </a:defRPr>
            </a:lvl5pPr>
            <a:lvl6pPr marL="10441076" indent="0">
              <a:buNone/>
              <a:defRPr sz="6400">
                <a:solidFill>
                  <a:schemeClr val="tx1">
                    <a:tint val="75000"/>
                  </a:schemeClr>
                </a:solidFill>
              </a:defRPr>
            </a:lvl6pPr>
            <a:lvl7pPr marL="12529292" indent="0">
              <a:buNone/>
              <a:defRPr sz="6400">
                <a:solidFill>
                  <a:schemeClr val="tx1">
                    <a:tint val="75000"/>
                  </a:schemeClr>
                </a:solidFill>
              </a:defRPr>
            </a:lvl7pPr>
            <a:lvl8pPr marL="14617507" indent="0">
              <a:buNone/>
              <a:defRPr sz="6400">
                <a:solidFill>
                  <a:schemeClr val="tx1">
                    <a:tint val="75000"/>
                  </a:schemeClr>
                </a:solidFill>
              </a:defRPr>
            </a:lvl8pPr>
            <a:lvl9pPr marL="16705722" indent="0">
              <a:buNone/>
              <a:defRPr sz="6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AD99DF4-15E6-4CAA-8386-C51FDBC136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A9913D-6F21-4EC9-9C10-C2775CDEA40D}" type="datetimeFigureOut">
              <a:rPr lang="fr-FR"/>
              <a:pPr>
                <a:defRPr/>
              </a:pPr>
              <a:t>20/10/2020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B25759B-5DFB-4D35-966F-D90071674B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35915EC-8FC3-4110-8BBD-DC649E441C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9546A1-024F-42FA-8FC0-BB4D1FB72E61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099903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0018386" y="31198189"/>
            <a:ext cx="89831017" cy="88232483"/>
          </a:xfrm>
        </p:spPr>
        <p:txBody>
          <a:bodyPr/>
          <a:lstStyle>
            <a:lvl1pPr>
              <a:defRPr sz="12800"/>
            </a:lvl1pPr>
            <a:lvl2pPr>
              <a:defRPr sz="11000"/>
            </a:lvl2pPr>
            <a:lvl3pPr>
              <a:defRPr sz="9100"/>
            </a:lvl3pPr>
            <a:lvl4pPr>
              <a:defRPr sz="8200"/>
            </a:lvl4pPr>
            <a:lvl5pPr>
              <a:defRPr sz="8200"/>
            </a:lvl5pPr>
            <a:lvl6pPr>
              <a:defRPr sz="8200"/>
            </a:lvl6pPr>
            <a:lvl7pPr>
              <a:defRPr sz="8200"/>
            </a:lvl7pPr>
            <a:lvl8pPr>
              <a:defRPr sz="8200"/>
            </a:lvl8pPr>
            <a:lvl9pPr>
              <a:defRPr sz="82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100562876" y="31198189"/>
            <a:ext cx="89831012" cy="88232483"/>
          </a:xfrm>
        </p:spPr>
        <p:txBody>
          <a:bodyPr/>
          <a:lstStyle>
            <a:lvl1pPr>
              <a:defRPr sz="12800"/>
            </a:lvl1pPr>
            <a:lvl2pPr>
              <a:defRPr sz="11000"/>
            </a:lvl2pPr>
            <a:lvl3pPr>
              <a:defRPr sz="9100"/>
            </a:lvl3pPr>
            <a:lvl4pPr>
              <a:defRPr sz="8200"/>
            </a:lvl4pPr>
            <a:lvl5pPr>
              <a:defRPr sz="8200"/>
            </a:lvl5pPr>
            <a:lvl6pPr>
              <a:defRPr sz="8200"/>
            </a:lvl6pPr>
            <a:lvl7pPr>
              <a:defRPr sz="8200"/>
            </a:lvl7pPr>
            <a:lvl8pPr>
              <a:defRPr sz="8200"/>
            </a:lvl8pPr>
            <a:lvl9pPr>
              <a:defRPr sz="82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4124E779-731F-437F-96F4-3377C764DF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71A7A8-E9C0-44B9-9323-73F84C86C058}" type="datetimeFigureOut">
              <a:rPr lang="fr-FR"/>
              <a:pPr>
                <a:defRPr/>
              </a:pPr>
              <a:t>20/10/2020</a:t>
            </a:fld>
            <a:endParaRPr lang="fr-FR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CD76FF86-90E8-48A7-88EB-8269E9DB7A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36AE69B5-3D99-43EA-A539-13D80E89ED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6C931E-6C8D-4ADE-A90C-5AC41957814A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050718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140426" y="1212603"/>
            <a:ext cx="38527673" cy="5046663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140426" y="6777950"/>
            <a:ext cx="18914533" cy="2824727"/>
          </a:xfrm>
        </p:spPr>
        <p:txBody>
          <a:bodyPr anchor="b"/>
          <a:lstStyle>
            <a:lvl1pPr marL="0" indent="0">
              <a:buNone/>
              <a:defRPr sz="11000" b="1"/>
            </a:lvl1pPr>
            <a:lvl2pPr marL="2088215" indent="0">
              <a:buNone/>
              <a:defRPr sz="9100" b="1"/>
            </a:lvl2pPr>
            <a:lvl3pPr marL="4176431" indent="0">
              <a:buNone/>
              <a:defRPr sz="8200" b="1"/>
            </a:lvl3pPr>
            <a:lvl4pPr marL="6264646" indent="0">
              <a:buNone/>
              <a:defRPr sz="7300" b="1"/>
            </a:lvl4pPr>
            <a:lvl5pPr marL="8352861" indent="0">
              <a:buNone/>
              <a:defRPr sz="7300" b="1"/>
            </a:lvl5pPr>
            <a:lvl6pPr marL="10441076" indent="0">
              <a:buNone/>
              <a:defRPr sz="7300" b="1"/>
            </a:lvl6pPr>
            <a:lvl7pPr marL="12529292" indent="0">
              <a:buNone/>
              <a:defRPr sz="7300" b="1"/>
            </a:lvl7pPr>
            <a:lvl8pPr marL="14617507" indent="0">
              <a:buNone/>
              <a:defRPr sz="7300" b="1"/>
            </a:lvl8pPr>
            <a:lvl9pPr marL="16705722" indent="0">
              <a:buNone/>
              <a:defRPr sz="73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140426" y="9602677"/>
            <a:ext cx="18914533" cy="17446034"/>
          </a:xfrm>
        </p:spPr>
        <p:txBody>
          <a:bodyPr/>
          <a:lstStyle>
            <a:lvl1pPr>
              <a:defRPr sz="11000"/>
            </a:lvl1pPr>
            <a:lvl2pPr>
              <a:defRPr sz="9100"/>
            </a:lvl2pPr>
            <a:lvl3pPr>
              <a:defRPr sz="8200"/>
            </a:lvl3pPr>
            <a:lvl4pPr>
              <a:defRPr sz="7300"/>
            </a:lvl4pPr>
            <a:lvl5pPr>
              <a:defRPr sz="7300"/>
            </a:lvl5pPr>
            <a:lvl6pPr>
              <a:defRPr sz="7300"/>
            </a:lvl6pPr>
            <a:lvl7pPr>
              <a:defRPr sz="7300"/>
            </a:lvl7pPr>
            <a:lvl8pPr>
              <a:defRPr sz="7300"/>
            </a:lvl8pPr>
            <a:lvl9pPr>
              <a:defRPr sz="73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21746138" y="6777950"/>
            <a:ext cx="18921963" cy="2824727"/>
          </a:xfrm>
        </p:spPr>
        <p:txBody>
          <a:bodyPr anchor="b"/>
          <a:lstStyle>
            <a:lvl1pPr marL="0" indent="0">
              <a:buNone/>
              <a:defRPr sz="11000" b="1"/>
            </a:lvl1pPr>
            <a:lvl2pPr marL="2088215" indent="0">
              <a:buNone/>
              <a:defRPr sz="9100" b="1"/>
            </a:lvl2pPr>
            <a:lvl3pPr marL="4176431" indent="0">
              <a:buNone/>
              <a:defRPr sz="8200" b="1"/>
            </a:lvl3pPr>
            <a:lvl4pPr marL="6264646" indent="0">
              <a:buNone/>
              <a:defRPr sz="7300" b="1"/>
            </a:lvl4pPr>
            <a:lvl5pPr marL="8352861" indent="0">
              <a:buNone/>
              <a:defRPr sz="7300" b="1"/>
            </a:lvl5pPr>
            <a:lvl6pPr marL="10441076" indent="0">
              <a:buNone/>
              <a:defRPr sz="7300" b="1"/>
            </a:lvl6pPr>
            <a:lvl7pPr marL="12529292" indent="0">
              <a:buNone/>
              <a:defRPr sz="7300" b="1"/>
            </a:lvl7pPr>
            <a:lvl8pPr marL="14617507" indent="0">
              <a:buNone/>
              <a:defRPr sz="7300" b="1"/>
            </a:lvl8pPr>
            <a:lvl9pPr marL="16705722" indent="0">
              <a:buNone/>
              <a:defRPr sz="73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21746138" y="9602677"/>
            <a:ext cx="18921963" cy="17446034"/>
          </a:xfrm>
        </p:spPr>
        <p:txBody>
          <a:bodyPr/>
          <a:lstStyle>
            <a:lvl1pPr>
              <a:defRPr sz="11000"/>
            </a:lvl1pPr>
            <a:lvl2pPr>
              <a:defRPr sz="9100"/>
            </a:lvl2pPr>
            <a:lvl3pPr>
              <a:defRPr sz="8200"/>
            </a:lvl3pPr>
            <a:lvl4pPr>
              <a:defRPr sz="7300"/>
            </a:lvl4pPr>
            <a:lvl5pPr>
              <a:defRPr sz="7300"/>
            </a:lvl5pPr>
            <a:lvl6pPr>
              <a:defRPr sz="7300"/>
            </a:lvl6pPr>
            <a:lvl7pPr>
              <a:defRPr sz="7300"/>
            </a:lvl7pPr>
            <a:lvl8pPr>
              <a:defRPr sz="7300"/>
            </a:lvl8pPr>
            <a:lvl9pPr>
              <a:defRPr sz="73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3">
            <a:extLst>
              <a:ext uri="{FF2B5EF4-FFF2-40B4-BE49-F238E27FC236}">
                <a16:creationId xmlns:a16="http://schemas.microsoft.com/office/drawing/2014/main" id="{756E74F9-8A89-414F-8596-E6046E3073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B36EB6-FFB8-426B-B304-53D03AD6F382}" type="datetimeFigureOut">
              <a:rPr lang="fr-FR"/>
              <a:pPr>
                <a:defRPr/>
              </a:pPr>
              <a:t>20/10/2020</a:t>
            </a:fld>
            <a:endParaRPr lang="fr-FR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5D93F304-5C73-4253-AED9-DA695F2544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id="{AAAEC706-827E-460C-AE92-45C7019385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A9B844-0826-42EB-849E-19268F88AD5B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777100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3">
            <a:extLst>
              <a:ext uri="{FF2B5EF4-FFF2-40B4-BE49-F238E27FC236}">
                <a16:creationId xmlns:a16="http://schemas.microsoft.com/office/drawing/2014/main" id="{6A4FE43D-002C-4702-B02E-CC92FAA107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567103-C2B5-4B76-8CA4-D0A1D6405179}" type="datetimeFigureOut">
              <a:rPr lang="fr-FR"/>
              <a:pPr>
                <a:defRPr/>
              </a:pPr>
              <a:t>20/10/2020</a:t>
            </a:fld>
            <a:endParaRPr lang="fr-FR"/>
          </a:p>
        </p:txBody>
      </p:sp>
      <p:sp>
        <p:nvSpPr>
          <p:cNvPr id="4" name="Espace réservé du pied de page 4">
            <a:extLst>
              <a:ext uri="{FF2B5EF4-FFF2-40B4-BE49-F238E27FC236}">
                <a16:creationId xmlns:a16="http://schemas.microsoft.com/office/drawing/2014/main" id="{B4EEDA93-962E-4ED9-8E6C-CE3E14AA7F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58E25B11-D6CF-4665-8650-8ED61B95EE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272A42-77A5-420C-8BA8-2299F3E58346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089253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4D105E16-D5E1-4D64-AD26-C534546FB4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5C347C-3775-4079-AA1B-58FA31717E2C}" type="datetimeFigureOut">
              <a:rPr lang="fr-FR"/>
              <a:pPr>
                <a:defRPr/>
              </a:pPr>
              <a:t>20/10/2020</a:t>
            </a:fld>
            <a:endParaRPr lang="fr-FR"/>
          </a:p>
        </p:txBody>
      </p:sp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3339C858-0B98-4BF3-A6B8-50A17A41E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537F054D-EF34-49E3-BB68-1F0007ECE7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96B4C0-53F4-4027-BC6F-53D040BDEC7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516009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140428" y="1205591"/>
            <a:ext cx="14083710" cy="5130774"/>
          </a:xfrm>
        </p:spPr>
        <p:txBody>
          <a:bodyPr anchor="b"/>
          <a:lstStyle>
            <a:lvl1pPr algn="l">
              <a:defRPr sz="9100" b="1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6736944" y="1205594"/>
            <a:ext cx="23931155" cy="25843120"/>
          </a:xfrm>
        </p:spPr>
        <p:txBody>
          <a:bodyPr/>
          <a:lstStyle>
            <a:lvl1pPr>
              <a:defRPr sz="14600"/>
            </a:lvl1pPr>
            <a:lvl2pPr>
              <a:defRPr sz="12800"/>
            </a:lvl2pPr>
            <a:lvl3pPr>
              <a:defRPr sz="11000"/>
            </a:lvl3pPr>
            <a:lvl4pPr>
              <a:defRPr sz="9100"/>
            </a:lvl4pPr>
            <a:lvl5pPr>
              <a:defRPr sz="9100"/>
            </a:lvl5pPr>
            <a:lvl6pPr>
              <a:defRPr sz="9100"/>
            </a:lvl6pPr>
            <a:lvl7pPr>
              <a:defRPr sz="9100"/>
            </a:lvl7pPr>
            <a:lvl8pPr>
              <a:defRPr sz="9100"/>
            </a:lvl8pPr>
            <a:lvl9pPr>
              <a:defRPr sz="91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2140428" y="6336367"/>
            <a:ext cx="14083710" cy="20712346"/>
          </a:xfrm>
        </p:spPr>
        <p:txBody>
          <a:bodyPr/>
          <a:lstStyle>
            <a:lvl1pPr marL="0" indent="0">
              <a:buNone/>
              <a:defRPr sz="6400"/>
            </a:lvl1pPr>
            <a:lvl2pPr marL="2088215" indent="0">
              <a:buNone/>
              <a:defRPr sz="5500"/>
            </a:lvl2pPr>
            <a:lvl3pPr marL="4176431" indent="0">
              <a:buNone/>
              <a:defRPr sz="4600"/>
            </a:lvl3pPr>
            <a:lvl4pPr marL="6264646" indent="0">
              <a:buNone/>
              <a:defRPr sz="4100"/>
            </a:lvl4pPr>
            <a:lvl5pPr marL="8352861" indent="0">
              <a:buNone/>
              <a:defRPr sz="4100"/>
            </a:lvl5pPr>
            <a:lvl6pPr marL="10441076" indent="0">
              <a:buNone/>
              <a:defRPr sz="4100"/>
            </a:lvl6pPr>
            <a:lvl7pPr marL="12529292" indent="0">
              <a:buNone/>
              <a:defRPr sz="4100"/>
            </a:lvl7pPr>
            <a:lvl8pPr marL="14617507" indent="0">
              <a:buNone/>
              <a:defRPr sz="4100"/>
            </a:lvl8pPr>
            <a:lvl9pPr marL="16705722" indent="0">
              <a:buNone/>
              <a:defRPr sz="41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7776A73A-B148-4B0B-90D2-64C7FE010A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35EC74-E43E-418A-A6C1-688B40B55F0D}" type="datetimeFigureOut">
              <a:rPr lang="fr-FR"/>
              <a:pPr>
                <a:defRPr/>
              </a:pPr>
              <a:t>20/10/2020</a:t>
            </a:fld>
            <a:endParaRPr lang="fr-FR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658712B5-E963-4DCA-929B-DDEEDE4DF0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3BD4B231-E39C-4774-AB27-6A78651BB9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CC3BC5-BAB4-4AF6-9983-880026A7245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374036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0771" y="21195982"/>
            <a:ext cx="25685115" cy="2502306"/>
          </a:xfrm>
        </p:spPr>
        <p:txBody>
          <a:bodyPr anchor="b"/>
          <a:lstStyle>
            <a:lvl1pPr algn="l">
              <a:defRPr sz="9100" b="1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8390771" y="2705572"/>
            <a:ext cx="25685115" cy="18167985"/>
          </a:xfrm>
        </p:spPr>
        <p:txBody>
          <a:bodyPr rtlCol="0">
            <a:normAutofit/>
          </a:bodyPr>
          <a:lstStyle>
            <a:lvl1pPr marL="0" indent="0">
              <a:buNone/>
              <a:defRPr sz="14600"/>
            </a:lvl1pPr>
            <a:lvl2pPr marL="2088215" indent="0">
              <a:buNone/>
              <a:defRPr sz="12800"/>
            </a:lvl2pPr>
            <a:lvl3pPr marL="4176431" indent="0">
              <a:buNone/>
              <a:defRPr sz="11000"/>
            </a:lvl3pPr>
            <a:lvl4pPr marL="6264646" indent="0">
              <a:buNone/>
              <a:defRPr sz="9100"/>
            </a:lvl4pPr>
            <a:lvl5pPr marL="8352861" indent="0">
              <a:buNone/>
              <a:defRPr sz="9100"/>
            </a:lvl5pPr>
            <a:lvl6pPr marL="10441076" indent="0">
              <a:buNone/>
              <a:defRPr sz="9100"/>
            </a:lvl6pPr>
            <a:lvl7pPr marL="12529292" indent="0">
              <a:buNone/>
              <a:defRPr sz="9100"/>
            </a:lvl7pPr>
            <a:lvl8pPr marL="14617507" indent="0">
              <a:buNone/>
              <a:defRPr sz="9100"/>
            </a:lvl8pPr>
            <a:lvl9pPr marL="16705722" indent="0">
              <a:buNone/>
              <a:defRPr sz="9100"/>
            </a:lvl9pPr>
          </a:lstStyle>
          <a:p>
            <a:pPr lvl="0"/>
            <a:endParaRPr lang="fr-FR" noProof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0771" y="23698288"/>
            <a:ext cx="25685115" cy="3553689"/>
          </a:xfrm>
        </p:spPr>
        <p:txBody>
          <a:bodyPr/>
          <a:lstStyle>
            <a:lvl1pPr marL="0" indent="0">
              <a:buNone/>
              <a:defRPr sz="6400"/>
            </a:lvl1pPr>
            <a:lvl2pPr marL="2088215" indent="0">
              <a:buNone/>
              <a:defRPr sz="5500"/>
            </a:lvl2pPr>
            <a:lvl3pPr marL="4176431" indent="0">
              <a:buNone/>
              <a:defRPr sz="4600"/>
            </a:lvl3pPr>
            <a:lvl4pPr marL="6264646" indent="0">
              <a:buNone/>
              <a:defRPr sz="4100"/>
            </a:lvl4pPr>
            <a:lvl5pPr marL="8352861" indent="0">
              <a:buNone/>
              <a:defRPr sz="4100"/>
            </a:lvl5pPr>
            <a:lvl6pPr marL="10441076" indent="0">
              <a:buNone/>
              <a:defRPr sz="4100"/>
            </a:lvl6pPr>
            <a:lvl7pPr marL="12529292" indent="0">
              <a:buNone/>
              <a:defRPr sz="4100"/>
            </a:lvl7pPr>
            <a:lvl8pPr marL="14617507" indent="0">
              <a:buNone/>
              <a:defRPr sz="4100"/>
            </a:lvl8pPr>
            <a:lvl9pPr marL="16705722" indent="0">
              <a:buNone/>
              <a:defRPr sz="41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3302C912-D83B-4252-810C-97A2005169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5D0893-B88E-4B0C-9FA0-915B3A3B6DF7}" type="datetimeFigureOut">
              <a:rPr lang="fr-FR"/>
              <a:pPr>
                <a:defRPr/>
              </a:pPr>
              <a:t>20/10/2020</a:t>
            </a:fld>
            <a:endParaRPr lang="fr-FR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4F3EC52B-EB8B-4EAA-807A-E65C8CF87E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59A0497E-805B-4306-924B-6CAC69DCD2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7B7EF1-CA94-495B-888D-1C222699E771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45135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Espace réservé du titre 1">
            <a:extLst>
              <a:ext uri="{FF2B5EF4-FFF2-40B4-BE49-F238E27FC236}">
                <a16:creationId xmlns:a16="http://schemas.microsoft.com/office/drawing/2014/main" id="{A75CD3E3-2EC0-4707-89BE-5D9A72496E7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139950" y="1212850"/>
            <a:ext cx="38528625" cy="5046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17643" tIns="208822" rIns="417643" bIns="20882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Modifiez le style du titre</a:t>
            </a:r>
          </a:p>
        </p:txBody>
      </p:sp>
      <p:sp>
        <p:nvSpPr>
          <p:cNvPr id="1027" name="Espace réservé du texte 2">
            <a:extLst>
              <a:ext uri="{FF2B5EF4-FFF2-40B4-BE49-F238E27FC236}">
                <a16:creationId xmlns:a16="http://schemas.microsoft.com/office/drawing/2014/main" id="{6F939032-1561-442C-A88D-0D62C2BD281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2139950" y="7065963"/>
            <a:ext cx="38528625" cy="19983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17643" tIns="208822" rIns="417643" bIns="20882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Modifiez les styles du texte du masque</a:t>
            </a:r>
          </a:p>
          <a:p>
            <a:pPr lvl="1"/>
            <a:r>
              <a:rPr lang="fr-FR" altLang="fr-FR"/>
              <a:t>Deuxième niveau</a:t>
            </a:r>
          </a:p>
          <a:p>
            <a:pPr lvl="2"/>
            <a:r>
              <a:rPr lang="fr-FR" altLang="fr-FR"/>
              <a:t>Troisième niveau</a:t>
            </a:r>
          </a:p>
          <a:p>
            <a:pPr lvl="3"/>
            <a:r>
              <a:rPr lang="fr-FR" altLang="fr-FR"/>
              <a:t>Quatrième niveau</a:t>
            </a:r>
          </a:p>
          <a:p>
            <a:pPr lvl="4"/>
            <a:r>
              <a:rPr lang="fr-FR" alt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49E1A61-FA8F-4562-9716-BAEB1F3C48C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139950" y="28065413"/>
            <a:ext cx="9988550" cy="1611312"/>
          </a:xfrm>
          <a:prstGeom prst="rect">
            <a:avLst/>
          </a:prstGeom>
        </p:spPr>
        <p:txBody>
          <a:bodyPr vert="horz" lIns="417643" tIns="208822" rIns="417643" bIns="208822" rtlCol="0" anchor="ctr"/>
          <a:lstStyle>
            <a:lvl1pPr algn="l" defTabSz="4176431" eaLnBrk="1" fontAlgn="auto" hangingPunct="1">
              <a:spcBef>
                <a:spcPts val="0"/>
              </a:spcBef>
              <a:spcAft>
                <a:spcPts val="0"/>
              </a:spcAft>
              <a:defRPr sz="55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7D826B96-FE14-4BC5-BF4F-ABB597546904}" type="datetimeFigureOut">
              <a:rPr lang="fr-FR"/>
              <a:pPr>
                <a:defRPr/>
              </a:pPr>
              <a:t>20/10/2020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3EFC2CC-58C2-45B8-8D1E-29C788CD6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625638" y="28065413"/>
            <a:ext cx="13557250" cy="1611312"/>
          </a:xfrm>
          <a:prstGeom prst="rect">
            <a:avLst/>
          </a:prstGeom>
        </p:spPr>
        <p:txBody>
          <a:bodyPr vert="horz" lIns="417643" tIns="208822" rIns="417643" bIns="208822" rtlCol="0" anchor="ctr"/>
          <a:lstStyle>
            <a:lvl1pPr algn="ctr" defTabSz="4176431" eaLnBrk="1" fontAlgn="auto" hangingPunct="1">
              <a:spcBef>
                <a:spcPts val="0"/>
              </a:spcBef>
              <a:spcAft>
                <a:spcPts val="0"/>
              </a:spcAft>
              <a:defRPr sz="55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C04F29C-13A6-43CC-AFE9-9F0ED02F9E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680025" y="28065413"/>
            <a:ext cx="9988550" cy="1611312"/>
          </a:xfrm>
          <a:prstGeom prst="rect">
            <a:avLst/>
          </a:prstGeom>
        </p:spPr>
        <p:txBody>
          <a:bodyPr vert="horz" lIns="417643" tIns="208822" rIns="417643" bIns="208822" rtlCol="0" anchor="ctr"/>
          <a:lstStyle>
            <a:lvl1pPr algn="r" defTabSz="4176431" eaLnBrk="1" fontAlgn="auto" hangingPunct="1">
              <a:spcBef>
                <a:spcPts val="0"/>
              </a:spcBef>
              <a:spcAft>
                <a:spcPts val="0"/>
              </a:spcAft>
              <a:defRPr sz="55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078B6907-129E-4DFC-844A-35F9246FB46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txStyles>
    <p:titleStyle>
      <a:lvl1pPr algn="ctr" defTabSz="4175125" rtl="0" fontAlgn="base">
        <a:spcBef>
          <a:spcPct val="0"/>
        </a:spcBef>
        <a:spcAft>
          <a:spcPct val="0"/>
        </a:spcAft>
        <a:defRPr sz="201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175125" rtl="0" fontAlgn="base">
        <a:spcBef>
          <a:spcPct val="0"/>
        </a:spcBef>
        <a:spcAft>
          <a:spcPct val="0"/>
        </a:spcAft>
        <a:defRPr sz="20100">
          <a:solidFill>
            <a:schemeClr val="tx1"/>
          </a:solidFill>
          <a:latin typeface="Calibri" panose="020F0502020204030204" pitchFamily="34" charset="0"/>
        </a:defRPr>
      </a:lvl2pPr>
      <a:lvl3pPr algn="ctr" defTabSz="4175125" rtl="0" fontAlgn="base">
        <a:spcBef>
          <a:spcPct val="0"/>
        </a:spcBef>
        <a:spcAft>
          <a:spcPct val="0"/>
        </a:spcAft>
        <a:defRPr sz="20100">
          <a:solidFill>
            <a:schemeClr val="tx1"/>
          </a:solidFill>
          <a:latin typeface="Calibri" panose="020F0502020204030204" pitchFamily="34" charset="0"/>
        </a:defRPr>
      </a:lvl3pPr>
      <a:lvl4pPr algn="ctr" defTabSz="4175125" rtl="0" fontAlgn="base">
        <a:spcBef>
          <a:spcPct val="0"/>
        </a:spcBef>
        <a:spcAft>
          <a:spcPct val="0"/>
        </a:spcAft>
        <a:defRPr sz="20100">
          <a:solidFill>
            <a:schemeClr val="tx1"/>
          </a:solidFill>
          <a:latin typeface="Calibri" panose="020F0502020204030204" pitchFamily="34" charset="0"/>
        </a:defRPr>
      </a:lvl4pPr>
      <a:lvl5pPr algn="ctr" defTabSz="4175125" rtl="0" fontAlgn="base">
        <a:spcBef>
          <a:spcPct val="0"/>
        </a:spcBef>
        <a:spcAft>
          <a:spcPct val="0"/>
        </a:spcAft>
        <a:defRPr sz="20100">
          <a:solidFill>
            <a:schemeClr val="tx1"/>
          </a:solidFill>
          <a:latin typeface="Calibri" panose="020F0502020204030204" pitchFamily="34" charset="0"/>
        </a:defRPr>
      </a:lvl5pPr>
      <a:lvl6pPr marL="457200" algn="ctr" defTabSz="4175125" rtl="0" fontAlgn="base">
        <a:spcBef>
          <a:spcPct val="0"/>
        </a:spcBef>
        <a:spcAft>
          <a:spcPct val="0"/>
        </a:spcAft>
        <a:defRPr sz="20100">
          <a:solidFill>
            <a:schemeClr val="tx1"/>
          </a:solidFill>
          <a:latin typeface="Calibri" panose="020F0502020204030204" pitchFamily="34" charset="0"/>
        </a:defRPr>
      </a:lvl6pPr>
      <a:lvl7pPr marL="914400" algn="ctr" defTabSz="4175125" rtl="0" fontAlgn="base">
        <a:spcBef>
          <a:spcPct val="0"/>
        </a:spcBef>
        <a:spcAft>
          <a:spcPct val="0"/>
        </a:spcAft>
        <a:defRPr sz="20100">
          <a:solidFill>
            <a:schemeClr val="tx1"/>
          </a:solidFill>
          <a:latin typeface="Calibri" panose="020F0502020204030204" pitchFamily="34" charset="0"/>
        </a:defRPr>
      </a:lvl7pPr>
      <a:lvl8pPr marL="1371600" algn="ctr" defTabSz="4175125" rtl="0" fontAlgn="base">
        <a:spcBef>
          <a:spcPct val="0"/>
        </a:spcBef>
        <a:spcAft>
          <a:spcPct val="0"/>
        </a:spcAft>
        <a:defRPr sz="20100">
          <a:solidFill>
            <a:schemeClr val="tx1"/>
          </a:solidFill>
          <a:latin typeface="Calibri" panose="020F0502020204030204" pitchFamily="34" charset="0"/>
        </a:defRPr>
      </a:lvl8pPr>
      <a:lvl9pPr marL="1828800" algn="ctr" defTabSz="4175125" rtl="0" fontAlgn="base">
        <a:spcBef>
          <a:spcPct val="0"/>
        </a:spcBef>
        <a:spcAft>
          <a:spcPct val="0"/>
        </a:spcAft>
        <a:defRPr sz="201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1565275" indent="-1565275" algn="l" defTabSz="4175125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4600" kern="1200">
          <a:solidFill>
            <a:schemeClr val="tx1"/>
          </a:solidFill>
          <a:latin typeface="+mn-lt"/>
          <a:ea typeface="+mn-ea"/>
          <a:cs typeface="+mn-cs"/>
        </a:defRPr>
      </a:lvl1pPr>
      <a:lvl2pPr marL="3392488" indent="-1304925" algn="l" defTabSz="4175125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2800" kern="1200">
          <a:solidFill>
            <a:schemeClr val="tx1"/>
          </a:solidFill>
          <a:latin typeface="+mn-lt"/>
          <a:ea typeface="+mn-ea"/>
          <a:cs typeface="+mn-cs"/>
        </a:defRPr>
      </a:lvl2pPr>
      <a:lvl3pPr marL="5219700" indent="-1042988" algn="l" defTabSz="4175125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1000" kern="1200">
          <a:solidFill>
            <a:schemeClr val="tx1"/>
          </a:solidFill>
          <a:latin typeface="+mn-lt"/>
          <a:ea typeface="+mn-ea"/>
          <a:cs typeface="+mn-cs"/>
        </a:defRPr>
      </a:lvl3pPr>
      <a:lvl4pPr marL="7307263" indent="-1042988" algn="l" defTabSz="4175125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9100" kern="1200">
          <a:solidFill>
            <a:schemeClr val="tx1"/>
          </a:solidFill>
          <a:latin typeface="+mn-lt"/>
          <a:ea typeface="+mn-ea"/>
          <a:cs typeface="+mn-cs"/>
        </a:defRPr>
      </a:lvl4pPr>
      <a:lvl5pPr marL="9396413" indent="-1042988" algn="l" defTabSz="4175125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9100" kern="1200">
          <a:solidFill>
            <a:schemeClr val="tx1"/>
          </a:solidFill>
          <a:latin typeface="+mn-lt"/>
          <a:ea typeface="+mn-ea"/>
          <a:cs typeface="+mn-cs"/>
        </a:defRPr>
      </a:lvl5pPr>
      <a:lvl6pPr marL="11485184" indent="-1044108" algn="l" defTabSz="4176431" rtl="0" eaLnBrk="1" latinLnBrk="0" hangingPunct="1">
        <a:spcBef>
          <a:spcPct val="20000"/>
        </a:spcBef>
        <a:buFont typeface="Arial" panose="020B0604020202020204" pitchFamily="34" charset="0"/>
        <a:buChar char="•"/>
        <a:defRPr sz="9100" kern="1200">
          <a:solidFill>
            <a:schemeClr val="tx1"/>
          </a:solidFill>
          <a:latin typeface="+mn-lt"/>
          <a:ea typeface="+mn-ea"/>
          <a:cs typeface="+mn-cs"/>
        </a:defRPr>
      </a:lvl6pPr>
      <a:lvl7pPr marL="13573399" indent="-1044108" algn="l" defTabSz="4176431" rtl="0" eaLnBrk="1" latinLnBrk="0" hangingPunct="1">
        <a:spcBef>
          <a:spcPct val="20000"/>
        </a:spcBef>
        <a:buFont typeface="Arial" panose="020B0604020202020204" pitchFamily="34" charset="0"/>
        <a:buChar char="•"/>
        <a:defRPr sz="9100" kern="1200">
          <a:solidFill>
            <a:schemeClr val="tx1"/>
          </a:solidFill>
          <a:latin typeface="+mn-lt"/>
          <a:ea typeface="+mn-ea"/>
          <a:cs typeface="+mn-cs"/>
        </a:defRPr>
      </a:lvl7pPr>
      <a:lvl8pPr marL="15661615" indent="-1044108" algn="l" defTabSz="4176431" rtl="0" eaLnBrk="1" latinLnBrk="0" hangingPunct="1">
        <a:spcBef>
          <a:spcPct val="20000"/>
        </a:spcBef>
        <a:buFont typeface="Arial" panose="020B0604020202020204" pitchFamily="34" charset="0"/>
        <a:buChar char="•"/>
        <a:defRPr sz="9100" kern="1200">
          <a:solidFill>
            <a:schemeClr val="tx1"/>
          </a:solidFill>
          <a:latin typeface="+mn-lt"/>
          <a:ea typeface="+mn-ea"/>
          <a:cs typeface="+mn-cs"/>
        </a:defRPr>
      </a:lvl8pPr>
      <a:lvl9pPr marL="17749830" indent="-1044108" algn="l" defTabSz="4176431" rtl="0" eaLnBrk="1" latinLnBrk="0" hangingPunct="1">
        <a:spcBef>
          <a:spcPct val="20000"/>
        </a:spcBef>
        <a:buFont typeface="Arial" panose="020B0604020202020204" pitchFamily="34" charset="0"/>
        <a:buChar char="•"/>
        <a:defRPr sz="9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1pPr>
      <a:lvl2pPr marL="2088215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2pPr>
      <a:lvl3pPr marL="4176431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3pPr>
      <a:lvl4pPr marL="6264646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4pPr>
      <a:lvl5pPr marL="8352861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5pPr>
      <a:lvl6pPr marL="10441076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6pPr>
      <a:lvl7pPr marL="12529292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7pPr>
      <a:lvl8pPr marL="14617507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8pPr>
      <a:lvl9pPr marL="16705722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812901" y="1813928"/>
            <a:ext cx="39096481" cy="4738132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812901" y="6552060"/>
            <a:ext cx="39096481" cy="18756091"/>
          </a:xfrm>
          <a:prstGeom prst="rect">
            <a:avLst/>
          </a:prstGeom>
        </p:spPr>
        <p:txBody>
          <a:bodyPr vert="horz" lIns="1080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251317" y="27165266"/>
            <a:ext cx="23980449" cy="15895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4214">
                <a:solidFill>
                  <a:srgbClr val="7F7F7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812901" y="27165266"/>
            <a:ext cx="3210731" cy="15895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4214">
                <a:solidFill>
                  <a:srgbClr val="7F7F7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4243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txStyles>
    <p:titleStyle>
      <a:lvl1pPr algn="l" defTabSz="3211098" rtl="0" eaLnBrk="1" latinLnBrk="0" hangingPunct="1">
        <a:spcBef>
          <a:spcPct val="0"/>
        </a:spcBef>
        <a:buNone/>
        <a:defRPr sz="12642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958870" indent="-958870" algn="l" defTabSz="3211098" rtl="0" eaLnBrk="1" latinLnBrk="0" hangingPunct="1">
        <a:spcBef>
          <a:spcPts val="0"/>
        </a:spcBef>
        <a:spcAft>
          <a:spcPts val="3512"/>
        </a:spcAft>
        <a:buFont typeface="Wingdings" panose="05000000000000000000" pitchFamily="2" charset="2"/>
        <a:buChar char="§"/>
        <a:defRPr sz="7726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2837587" indent="-958870" algn="l" defTabSz="3211098" rtl="0" eaLnBrk="1" latinLnBrk="0" hangingPunct="1">
        <a:spcBef>
          <a:spcPts val="0"/>
        </a:spcBef>
        <a:spcAft>
          <a:spcPts val="3512"/>
        </a:spcAft>
        <a:buFont typeface="Symbol" panose="05050102010706020507" pitchFamily="18" charset="2"/>
        <a:buChar char="-"/>
        <a:defRPr sz="7023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3796457" indent="-624380" algn="l" defTabSz="3211098" rtl="0" eaLnBrk="1" latinLnBrk="0" hangingPunct="1">
        <a:spcBef>
          <a:spcPts val="0"/>
        </a:spcBef>
        <a:spcAft>
          <a:spcPts val="3512"/>
        </a:spcAft>
        <a:buFont typeface="Symbol" panose="05050102010706020507" pitchFamily="18" charset="2"/>
        <a:buChar char="-"/>
        <a:defRPr sz="6321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5045217" indent="-624380" algn="l" defTabSz="3211098" rtl="0" eaLnBrk="1" latinLnBrk="0" hangingPunct="1">
        <a:spcBef>
          <a:spcPts val="0"/>
        </a:spcBef>
        <a:spcAft>
          <a:spcPts val="3512"/>
        </a:spcAft>
        <a:buFont typeface="Symbol" panose="05050102010706020507" pitchFamily="18" charset="2"/>
        <a:buChar char="-"/>
        <a:defRPr sz="5619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6299551" indent="-629957" algn="l" defTabSz="3211098" rtl="0" eaLnBrk="1" latinLnBrk="0" hangingPunct="1">
        <a:spcBef>
          <a:spcPts val="0"/>
        </a:spcBef>
        <a:spcAft>
          <a:spcPts val="3512"/>
        </a:spcAft>
        <a:buFont typeface="Symbol" panose="05050102010706020507" pitchFamily="18" charset="2"/>
        <a:buChar char="-"/>
        <a:defRPr sz="5619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8830521" indent="-802775" algn="l" defTabSz="3211098" rtl="0" eaLnBrk="1" latinLnBrk="0" hangingPunct="1">
        <a:spcBef>
          <a:spcPct val="20000"/>
        </a:spcBef>
        <a:buFont typeface="Arial" panose="020B0604020202020204" pitchFamily="34" charset="0"/>
        <a:buChar char="•"/>
        <a:defRPr sz="7023" kern="1200">
          <a:solidFill>
            <a:schemeClr val="tx1"/>
          </a:solidFill>
          <a:latin typeface="+mn-lt"/>
          <a:ea typeface="+mn-ea"/>
          <a:cs typeface="+mn-cs"/>
        </a:defRPr>
      </a:lvl6pPr>
      <a:lvl7pPr marL="10436070" indent="-802775" algn="l" defTabSz="3211098" rtl="0" eaLnBrk="1" latinLnBrk="0" hangingPunct="1">
        <a:spcBef>
          <a:spcPct val="20000"/>
        </a:spcBef>
        <a:buFont typeface="Arial" panose="020B0604020202020204" pitchFamily="34" charset="0"/>
        <a:buChar char="•"/>
        <a:defRPr sz="7023" kern="1200">
          <a:solidFill>
            <a:schemeClr val="tx1"/>
          </a:solidFill>
          <a:latin typeface="+mn-lt"/>
          <a:ea typeface="+mn-ea"/>
          <a:cs typeface="+mn-cs"/>
        </a:defRPr>
      </a:lvl7pPr>
      <a:lvl8pPr marL="12041619" indent="-802775" algn="l" defTabSz="3211098" rtl="0" eaLnBrk="1" latinLnBrk="0" hangingPunct="1">
        <a:spcBef>
          <a:spcPct val="20000"/>
        </a:spcBef>
        <a:buFont typeface="Arial" panose="020B0604020202020204" pitchFamily="34" charset="0"/>
        <a:buChar char="•"/>
        <a:defRPr sz="7023" kern="1200">
          <a:solidFill>
            <a:schemeClr val="tx1"/>
          </a:solidFill>
          <a:latin typeface="+mn-lt"/>
          <a:ea typeface="+mn-ea"/>
          <a:cs typeface="+mn-cs"/>
        </a:defRPr>
      </a:lvl8pPr>
      <a:lvl9pPr marL="13647169" indent="-802775" algn="l" defTabSz="3211098" rtl="0" eaLnBrk="1" latinLnBrk="0" hangingPunct="1">
        <a:spcBef>
          <a:spcPct val="20000"/>
        </a:spcBef>
        <a:buFont typeface="Arial" panose="020B0604020202020204" pitchFamily="34" charset="0"/>
        <a:buChar char="•"/>
        <a:defRPr sz="702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3211098" rtl="0" eaLnBrk="1" latinLnBrk="0" hangingPunct="1">
        <a:defRPr sz="6321" kern="1200">
          <a:solidFill>
            <a:schemeClr val="tx1"/>
          </a:solidFill>
          <a:latin typeface="+mn-lt"/>
          <a:ea typeface="+mn-ea"/>
          <a:cs typeface="+mn-cs"/>
        </a:defRPr>
      </a:lvl1pPr>
      <a:lvl2pPr marL="1605549" algn="l" defTabSz="3211098" rtl="0" eaLnBrk="1" latinLnBrk="0" hangingPunct="1">
        <a:defRPr sz="6321" kern="1200">
          <a:solidFill>
            <a:schemeClr val="tx1"/>
          </a:solidFill>
          <a:latin typeface="+mn-lt"/>
          <a:ea typeface="+mn-ea"/>
          <a:cs typeface="+mn-cs"/>
        </a:defRPr>
      </a:lvl2pPr>
      <a:lvl3pPr marL="3211098" algn="l" defTabSz="3211098" rtl="0" eaLnBrk="1" latinLnBrk="0" hangingPunct="1">
        <a:defRPr sz="6321" kern="1200">
          <a:solidFill>
            <a:schemeClr val="tx1"/>
          </a:solidFill>
          <a:latin typeface="+mn-lt"/>
          <a:ea typeface="+mn-ea"/>
          <a:cs typeface="+mn-cs"/>
        </a:defRPr>
      </a:lvl3pPr>
      <a:lvl4pPr marL="4816648" algn="l" defTabSz="3211098" rtl="0" eaLnBrk="1" latinLnBrk="0" hangingPunct="1">
        <a:defRPr sz="6321" kern="1200">
          <a:solidFill>
            <a:schemeClr val="tx1"/>
          </a:solidFill>
          <a:latin typeface="+mn-lt"/>
          <a:ea typeface="+mn-ea"/>
          <a:cs typeface="+mn-cs"/>
        </a:defRPr>
      </a:lvl4pPr>
      <a:lvl5pPr marL="6422197" algn="l" defTabSz="3211098" rtl="0" eaLnBrk="1" latinLnBrk="0" hangingPunct="1">
        <a:defRPr sz="6321" kern="1200">
          <a:solidFill>
            <a:schemeClr val="tx1"/>
          </a:solidFill>
          <a:latin typeface="+mn-lt"/>
          <a:ea typeface="+mn-ea"/>
          <a:cs typeface="+mn-cs"/>
        </a:defRPr>
      </a:lvl5pPr>
      <a:lvl6pPr marL="8027746" algn="l" defTabSz="3211098" rtl="0" eaLnBrk="1" latinLnBrk="0" hangingPunct="1">
        <a:defRPr sz="6321" kern="1200">
          <a:solidFill>
            <a:schemeClr val="tx1"/>
          </a:solidFill>
          <a:latin typeface="+mn-lt"/>
          <a:ea typeface="+mn-ea"/>
          <a:cs typeface="+mn-cs"/>
        </a:defRPr>
      </a:lvl6pPr>
      <a:lvl7pPr marL="9633295" algn="l" defTabSz="3211098" rtl="0" eaLnBrk="1" latinLnBrk="0" hangingPunct="1">
        <a:defRPr sz="6321" kern="1200">
          <a:solidFill>
            <a:schemeClr val="tx1"/>
          </a:solidFill>
          <a:latin typeface="+mn-lt"/>
          <a:ea typeface="+mn-ea"/>
          <a:cs typeface="+mn-cs"/>
        </a:defRPr>
      </a:lvl7pPr>
      <a:lvl8pPr marL="11238845" algn="l" defTabSz="3211098" rtl="0" eaLnBrk="1" latinLnBrk="0" hangingPunct="1">
        <a:defRPr sz="6321" kern="1200">
          <a:solidFill>
            <a:schemeClr val="tx1"/>
          </a:solidFill>
          <a:latin typeface="+mn-lt"/>
          <a:ea typeface="+mn-ea"/>
          <a:cs typeface="+mn-cs"/>
        </a:defRPr>
      </a:lvl8pPr>
      <a:lvl9pPr marL="12844394" algn="l" defTabSz="3211098" rtl="0" eaLnBrk="1" latinLnBrk="0" hangingPunct="1">
        <a:defRPr sz="63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svg"/><Relationship Id="rId18" Type="http://schemas.openxmlformats.org/officeDocument/2006/relationships/image" Target="../media/image19.png"/><Relationship Id="rId3" Type="http://schemas.openxmlformats.org/officeDocument/2006/relationships/image" Target="../media/image4.png"/><Relationship Id="rId21" Type="http://schemas.openxmlformats.org/officeDocument/2006/relationships/image" Target="../media/image22.png"/><Relationship Id="rId7" Type="http://schemas.openxmlformats.org/officeDocument/2006/relationships/image" Target="../media/image8.svg"/><Relationship Id="rId12" Type="http://schemas.openxmlformats.org/officeDocument/2006/relationships/image" Target="../media/image13.png"/><Relationship Id="rId17" Type="http://schemas.openxmlformats.org/officeDocument/2006/relationships/image" Target="../media/image18.svg"/><Relationship Id="rId2" Type="http://schemas.openxmlformats.org/officeDocument/2006/relationships/image" Target="../media/image3.png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.png"/><Relationship Id="rId11" Type="http://schemas.openxmlformats.org/officeDocument/2006/relationships/image" Target="../media/image12.sv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19" Type="http://schemas.openxmlformats.org/officeDocument/2006/relationships/image" Target="../media/image20.svg"/><Relationship Id="rId4" Type="http://schemas.openxmlformats.org/officeDocument/2006/relationships/image" Target="../media/image5.png"/><Relationship Id="rId9" Type="http://schemas.openxmlformats.org/officeDocument/2006/relationships/image" Target="../media/image10.svg"/><Relationship Id="rId1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" name="Ellipse 818">
            <a:extLst>
              <a:ext uri="{FF2B5EF4-FFF2-40B4-BE49-F238E27FC236}">
                <a16:creationId xmlns:a16="http://schemas.microsoft.com/office/drawing/2014/main" id="{9DFA471D-F1BF-4879-8F77-6B7EF658579F}"/>
              </a:ext>
            </a:extLst>
          </p:cNvPr>
          <p:cNvSpPr/>
          <p:nvPr/>
        </p:nvSpPr>
        <p:spPr>
          <a:xfrm rot="20286209">
            <a:off x="15548439" y="4734571"/>
            <a:ext cx="22662629" cy="11504342"/>
          </a:xfrm>
          <a:prstGeom prst="ellipse">
            <a:avLst/>
          </a:prstGeom>
          <a:noFill/>
          <a:ln w="63500">
            <a:solidFill>
              <a:schemeClr val="accent3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8538" tIns="168538" rIns="168538" bIns="168538" rtlCol="0" anchor="ctr"/>
          <a:lstStyle/>
          <a:p>
            <a:pPr algn="ctr" defTabSz="42808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5150" b="1" dirty="0">
              <a:solidFill>
                <a:prstClr val="white">
                  <a:lumMod val="50000"/>
                </a:prstClr>
              </a:solidFill>
              <a:latin typeface="Michelin SemiBold"/>
            </a:endParaRPr>
          </a:p>
        </p:txBody>
      </p:sp>
      <p:sp>
        <p:nvSpPr>
          <p:cNvPr id="439" name="Ellipse 438">
            <a:extLst>
              <a:ext uri="{FF2B5EF4-FFF2-40B4-BE49-F238E27FC236}">
                <a16:creationId xmlns:a16="http://schemas.microsoft.com/office/drawing/2014/main" id="{0AB62F44-1344-4B12-8B8C-2182CEFDAC46}"/>
              </a:ext>
            </a:extLst>
          </p:cNvPr>
          <p:cNvSpPr/>
          <p:nvPr/>
        </p:nvSpPr>
        <p:spPr>
          <a:xfrm rot="935404">
            <a:off x="1710246" y="4436985"/>
            <a:ext cx="23748020" cy="15869276"/>
          </a:xfrm>
          <a:prstGeom prst="ellipse">
            <a:avLst/>
          </a:prstGeom>
          <a:solidFill>
            <a:schemeClr val="bg1"/>
          </a:solidFill>
          <a:ln w="63500">
            <a:solidFill>
              <a:schemeClr val="accent4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8538" tIns="168538" rIns="168538" bIns="168538" rtlCol="0" anchor="ctr"/>
          <a:lstStyle/>
          <a:p>
            <a:pPr algn="ctr" defTabSz="42808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5150" b="1" dirty="0">
              <a:solidFill>
                <a:prstClr val="white">
                  <a:lumMod val="50000"/>
                </a:prstClr>
              </a:solidFill>
              <a:latin typeface="Michelin SemiBold"/>
            </a:endParaRPr>
          </a:p>
        </p:txBody>
      </p:sp>
      <p:sp>
        <p:nvSpPr>
          <p:cNvPr id="442" name="Ellipse 441">
            <a:extLst>
              <a:ext uri="{FF2B5EF4-FFF2-40B4-BE49-F238E27FC236}">
                <a16:creationId xmlns:a16="http://schemas.microsoft.com/office/drawing/2014/main" id="{DD9B33C0-1AFF-484B-AEE7-DBDA3C5D108F}"/>
              </a:ext>
            </a:extLst>
          </p:cNvPr>
          <p:cNvSpPr/>
          <p:nvPr/>
        </p:nvSpPr>
        <p:spPr>
          <a:xfrm rot="412798">
            <a:off x="20959757" y="15646466"/>
            <a:ext cx="17467507" cy="9042889"/>
          </a:xfrm>
          <a:prstGeom prst="ellipse">
            <a:avLst/>
          </a:prstGeom>
          <a:solidFill>
            <a:schemeClr val="bg1"/>
          </a:solidFill>
          <a:ln w="63500">
            <a:solidFill>
              <a:schemeClr val="accent5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8538" tIns="168538" rIns="168538" bIns="168538" rtlCol="0" anchor="ctr"/>
          <a:lstStyle/>
          <a:p>
            <a:pPr algn="ctr" defTabSz="42808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5150" b="1" dirty="0">
              <a:solidFill>
                <a:prstClr val="white">
                  <a:lumMod val="50000"/>
                </a:prstClr>
              </a:solidFill>
              <a:latin typeface="Michelin SemiBold"/>
            </a:endParaRPr>
          </a:p>
        </p:txBody>
      </p:sp>
      <p:sp>
        <p:nvSpPr>
          <p:cNvPr id="844" name="Ellipse 843">
            <a:extLst>
              <a:ext uri="{FF2B5EF4-FFF2-40B4-BE49-F238E27FC236}">
                <a16:creationId xmlns:a16="http://schemas.microsoft.com/office/drawing/2014/main" id="{E9833108-9AED-44E2-808F-59994C32E87C}"/>
              </a:ext>
            </a:extLst>
          </p:cNvPr>
          <p:cNvSpPr/>
          <p:nvPr/>
        </p:nvSpPr>
        <p:spPr>
          <a:xfrm rot="20180062">
            <a:off x="6023674" y="16569621"/>
            <a:ext cx="17467507" cy="8440358"/>
          </a:xfrm>
          <a:prstGeom prst="ellipse">
            <a:avLst/>
          </a:prstGeom>
          <a:solidFill>
            <a:schemeClr val="bg1"/>
          </a:solidFill>
          <a:ln w="63500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8538" tIns="168538" rIns="168538" bIns="168538" rtlCol="0" anchor="ctr"/>
          <a:lstStyle/>
          <a:p>
            <a:pPr algn="ctr" defTabSz="42808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5150" b="1" dirty="0">
              <a:solidFill>
                <a:prstClr val="white">
                  <a:lumMod val="50000"/>
                </a:prstClr>
              </a:solidFill>
              <a:latin typeface="Michelin SemiBold"/>
            </a:endParaRPr>
          </a:p>
        </p:txBody>
      </p:sp>
      <p:cxnSp>
        <p:nvCxnSpPr>
          <p:cNvPr id="626" name="Connecteur droit 625">
            <a:extLst>
              <a:ext uri="{FF2B5EF4-FFF2-40B4-BE49-F238E27FC236}">
                <a16:creationId xmlns:a16="http://schemas.microsoft.com/office/drawing/2014/main" id="{964D3BD0-7E4E-4BC8-91B1-5ECCD90E75D9}"/>
              </a:ext>
            </a:extLst>
          </p:cNvPr>
          <p:cNvCxnSpPr>
            <a:cxnSpLocks/>
          </p:cNvCxnSpPr>
          <p:nvPr/>
        </p:nvCxnSpPr>
        <p:spPr>
          <a:xfrm flipH="1">
            <a:off x="21214403" y="13994096"/>
            <a:ext cx="13279519" cy="218461"/>
          </a:xfrm>
          <a:prstGeom prst="line">
            <a:avLst/>
          </a:prstGeom>
          <a:noFill/>
          <a:ln w="254000" cap="flat" cmpd="sng" algn="ctr">
            <a:solidFill>
              <a:srgbClr val="00AA6E"/>
            </a:solidFill>
            <a:prstDash val="solid"/>
            <a:miter lim="800000"/>
          </a:ln>
          <a:effectLst/>
        </p:spPr>
      </p:cxnSp>
      <p:cxnSp>
        <p:nvCxnSpPr>
          <p:cNvPr id="640" name="Connecteur droit 639">
            <a:extLst>
              <a:ext uri="{FF2B5EF4-FFF2-40B4-BE49-F238E27FC236}">
                <a16:creationId xmlns:a16="http://schemas.microsoft.com/office/drawing/2014/main" id="{EF5802A7-49BB-4420-8BD0-4CEE0C14CA74}"/>
              </a:ext>
            </a:extLst>
          </p:cNvPr>
          <p:cNvCxnSpPr>
            <a:cxnSpLocks/>
          </p:cNvCxnSpPr>
          <p:nvPr/>
        </p:nvCxnSpPr>
        <p:spPr>
          <a:xfrm flipV="1">
            <a:off x="8413949" y="14212557"/>
            <a:ext cx="12800454" cy="4094923"/>
          </a:xfrm>
          <a:prstGeom prst="line">
            <a:avLst/>
          </a:prstGeom>
          <a:noFill/>
          <a:ln w="254000" cap="flat" cmpd="sng" algn="ctr">
            <a:solidFill>
              <a:srgbClr val="CCCC00"/>
            </a:solidFill>
            <a:prstDash val="solid"/>
            <a:miter lim="800000"/>
          </a:ln>
          <a:effectLst/>
        </p:spPr>
      </p:cxnSp>
      <p:cxnSp>
        <p:nvCxnSpPr>
          <p:cNvPr id="641" name="Connecteur droit 640">
            <a:extLst>
              <a:ext uri="{FF2B5EF4-FFF2-40B4-BE49-F238E27FC236}">
                <a16:creationId xmlns:a16="http://schemas.microsoft.com/office/drawing/2014/main" id="{8E760BBD-C8B0-45FA-84B4-D5BC88990629}"/>
              </a:ext>
            </a:extLst>
          </p:cNvPr>
          <p:cNvCxnSpPr>
            <a:cxnSpLocks/>
          </p:cNvCxnSpPr>
          <p:nvPr/>
        </p:nvCxnSpPr>
        <p:spPr>
          <a:xfrm>
            <a:off x="20758358" y="8388288"/>
            <a:ext cx="456045" cy="5824269"/>
          </a:xfrm>
          <a:prstGeom prst="line">
            <a:avLst/>
          </a:prstGeom>
          <a:noFill/>
          <a:ln w="254000" cap="flat" cmpd="sng" algn="ctr">
            <a:solidFill>
              <a:srgbClr val="204B7F"/>
            </a:solidFill>
            <a:prstDash val="solid"/>
            <a:miter lim="800000"/>
          </a:ln>
          <a:effectLst/>
        </p:spPr>
      </p:cxnSp>
      <p:cxnSp>
        <p:nvCxnSpPr>
          <p:cNvPr id="642" name="Connecteur droit 641">
            <a:extLst>
              <a:ext uri="{FF2B5EF4-FFF2-40B4-BE49-F238E27FC236}">
                <a16:creationId xmlns:a16="http://schemas.microsoft.com/office/drawing/2014/main" id="{54BB787D-FCA3-4907-B654-66DDD7002281}"/>
              </a:ext>
            </a:extLst>
          </p:cNvPr>
          <p:cNvCxnSpPr>
            <a:cxnSpLocks/>
          </p:cNvCxnSpPr>
          <p:nvPr/>
        </p:nvCxnSpPr>
        <p:spPr>
          <a:xfrm flipV="1">
            <a:off x="21119935" y="14212557"/>
            <a:ext cx="94468" cy="6813114"/>
          </a:xfrm>
          <a:prstGeom prst="line">
            <a:avLst/>
          </a:prstGeom>
          <a:noFill/>
          <a:ln w="254000" cap="flat" cmpd="sng" algn="ctr">
            <a:solidFill>
              <a:srgbClr val="23A29F"/>
            </a:solidFill>
            <a:prstDash val="solid"/>
            <a:miter lim="800000"/>
          </a:ln>
          <a:effectLst/>
        </p:spPr>
      </p:cxnSp>
      <p:sp>
        <p:nvSpPr>
          <p:cNvPr id="28" name="ZoneTexte 27">
            <a:extLst>
              <a:ext uri="{FF2B5EF4-FFF2-40B4-BE49-F238E27FC236}">
                <a16:creationId xmlns:a16="http://schemas.microsoft.com/office/drawing/2014/main" id="{7E36AC80-5391-491B-AE18-9DEFF3B3C1C1}"/>
              </a:ext>
            </a:extLst>
          </p:cNvPr>
          <p:cNvSpPr txBox="1"/>
          <p:nvPr/>
        </p:nvSpPr>
        <p:spPr>
          <a:xfrm>
            <a:off x="28298168" y="3833841"/>
            <a:ext cx="7281159" cy="4080348"/>
          </a:xfrm>
          <a:prstGeom prst="rect">
            <a:avLst/>
          </a:prstGeom>
          <a:solidFill>
            <a:schemeClr val="bg1">
              <a:alpha val="45000"/>
            </a:schemeClr>
          </a:solidFill>
        </p:spPr>
        <p:txBody>
          <a:bodyPr wrap="none" rtlCol="0">
            <a:spAutoFit/>
          </a:bodyPr>
          <a:lstStyle/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4916" b="1" kern="0" dirty="0">
              <a:solidFill>
                <a:srgbClr val="44546A"/>
              </a:solidFill>
              <a:latin typeface="Calibri"/>
            </a:endParaRPr>
          </a:p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916" b="1" kern="0" dirty="0">
                <a:solidFill>
                  <a:srgbClr val="44546A"/>
                </a:solidFill>
                <a:latin typeface="Calibri"/>
              </a:rPr>
              <a:t>REFERENCE ARCHITECTURE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b="1" kern="0" dirty="0">
                <a:solidFill>
                  <a:srgbClr val="4BACC6"/>
                </a:solidFill>
              </a:rPr>
              <a:t>Animate and promote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</a:rPr>
              <a:t>GREEN PATTERNS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</a:rPr>
              <a:t>PRINCIPLES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</a:rPr>
              <a:t>TECH RADAR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</a:rPr>
              <a:t>STANDARDS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</a:rPr>
              <a:t>BLUEPRINTS</a:t>
            </a:r>
            <a:endParaRPr lang="en-US" sz="3745" kern="0" dirty="0">
              <a:solidFill>
                <a:srgbClr val="44546A"/>
              </a:solidFill>
              <a:latin typeface="Calibri"/>
            </a:endParaRPr>
          </a:p>
        </p:txBody>
      </p:sp>
      <p:sp>
        <p:nvSpPr>
          <p:cNvPr id="848" name="Ellipse 847">
            <a:extLst>
              <a:ext uri="{FF2B5EF4-FFF2-40B4-BE49-F238E27FC236}">
                <a16:creationId xmlns:a16="http://schemas.microsoft.com/office/drawing/2014/main" id="{99CE26B1-6933-4096-8A51-ED7F445CEBFA}"/>
              </a:ext>
            </a:extLst>
          </p:cNvPr>
          <p:cNvSpPr/>
          <p:nvPr/>
        </p:nvSpPr>
        <p:spPr>
          <a:xfrm>
            <a:off x="2413576" y="19956940"/>
            <a:ext cx="3384004" cy="2590641"/>
          </a:xfrm>
          <a:prstGeom prst="ellipse">
            <a:avLst/>
          </a:prstGeom>
          <a:solidFill>
            <a:schemeClr val="bg1"/>
          </a:solidFill>
          <a:ln w="952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68538" tIns="168538" rIns="168538" bIns="16853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745" b="1" dirty="0">
                <a:solidFill>
                  <a:srgbClr val="FFC00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Domain </a:t>
            </a:r>
          </a:p>
          <a:p>
            <a:pPr algn="ctr"/>
            <a:r>
              <a:rPr lang="en-US" sz="3745" b="1" dirty="0">
                <a:solidFill>
                  <a:srgbClr val="FFC00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 Program </a:t>
            </a:r>
          </a:p>
          <a:p>
            <a:pPr algn="ctr"/>
            <a:endParaRPr lang="en-US" sz="3745" b="1" dirty="0">
              <a:solidFill>
                <a:srgbClr val="FFC000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sp>
        <p:nvSpPr>
          <p:cNvPr id="741" name="ZoneTexte 740">
            <a:extLst>
              <a:ext uri="{FF2B5EF4-FFF2-40B4-BE49-F238E27FC236}">
                <a16:creationId xmlns:a16="http://schemas.microsoft.com/office/drawing/2014/main" id="{2D64EB88-9CE5-4FB6-90E8-54FADA1EFC8E}"/>
              </a:ext>
            </a:extLst>
          </p:cNvPr>
          <p:cNvSpPr txBox="1"/>
          <p:nvPr/>
        </p:nvSpPr>
        <p:spPr>
          <a:xfrm>
            <a:off x="5681640" y="14032272"/>
            <a:ext cx="9280349" cy="30141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916" b="1" kern="0" dirty="0">
                <a:solidFill>
                  <a:srgbClr val="44546A"/>
                </a:solidFill>
                <a:latin typeface="Calibri"/>
              </a:rPr>
              <a:t>ARCHITECTURE GOVERNANCE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b="1" kern="0" dirty="0">
                <a:solidFill>
                  <a:srgbClr val="4BACC6"/>
                </a:solidFill>
              </a:rPr>
              <a:t>Contribute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</a:rPr>
              <a:t>IS BALANCE SCORECARD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</a:rPr>
              <a:t>PRINCIPLES AND RULES AUDITING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</a:rPr>
              <a:t>EA STUDIES BACKLOG</a:t>
            </a:r>
          </a:p>
          <a:p>
            <a:pPr lvl="0" algn="ctr">
              <a:lnSpc>
                <a:spcPct val="80000"/>
              </a:lnSpc>
              <a:defRPr/>
            </a:pPr>
            <a:endParaRPr lang="en-US" sz="3745" b="1" kern="0" dirty="0">
              <a:solidFill>
                <a:srgbClr val="44546A"/>
              </a:solidFill>
            </a:endParaRPr>
          </a:p>
        </p:txBody>
      </p:sp>
      <p:sp>
        <p:nvSpPr>
          <p:cNvPr id="812" name="ZoneTexte 811">
            <a:extLst>
              <a:ext uri="{FF2B5EF4-FFF2-40B4-BE49-F238E27FC236}">
                <a16:creationId xmlns:a16="http://schemas.microsoft.com/office/drawing/2014/main" id="{19F869D7-3DC9-497D-8DB1-C475C84BA34D}"/>
              </a:ext>
            </a:extLst>
          </p:cNvPr>
          <p:cNvSpPr txBox="1"/>
          <p:nvPr/>
        </p:nvSpPr>
        <p:spPr>
          <a:xfrm>
            <a:off x="5897556" y="4909599"/>
            <a:ext cx="7497566" cy="25531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916" b="1" kern="0" dirty="0">
                <a:solidFill>
                  <a:srgbClr val="44546A"/>
                </a:solidFill>
                <a:latin typeface="Calibri"/>
              </a:rPr>
              <a:t>BUSINESS  CAPABILITIES</a:t>
            </a:r>
          </a:p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745" b="1" kern="0" dirty="0">
                <a:solidFill>
                  <a:srgbClr val="4BACC6"/>
                </a:solidFill>
                <a:latin typeface="Calibri"/>
              </a:rPr>
              <a:t>Master and Develop</a:t>
            </a:r>
          </a:p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745" kern="0" dirty="0">
                <a:solidFill>
                  <a:srgbClr val="1F497D"/>
                </a:solidFill>
                <a:latin typeface="Calibri"/>
              </a:rPr>
              <a:t>VALUE CHAIN</a:t>
            </a:r>
          </a:p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745" kern="0" dirty="0">
                <a:solidFill>
                  <a:srgbClr val="1F497D"/>
                </a:solidFill>
                <a:latin typeface="Calibri"/>
              </a:rPr>
              <a:t>BUSINESS AMBITIONS</a:t>
            </a:r>
          </a:p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745" kern="0" dirty="0">
                <a:solidFill>
                  <a:srgbClr val="1F497D"/>
                </a:solidFill>
                <a:latin typeface="Calibri"/>
              </a:rPr>
              <a:t>BUSINESS ARCHITECTURE PRINCIPLES</a:t>
            </a: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32E4EE14-7C85-4CD4-8133-98B406293A85}"/>
              </a:ext>
            </a:extLst>
          </p:cNvPr>
          <p:cNvGrpSpPr/>
          <p:nvPr/>
        </p:nvGrpSpPr>
        <p:grpSpPr>
          <a:xfrm>
            <a:off x="35738735" y="5203843"/>
            <a:ext cx="2812310" cy="2432403"/>
            <a:chOff x="2056619" y="744535"/>
            <a:chExt cx="653239" cy="574750"/>
          </a:xfrm>
        </p:grpSpPr>
        <p:sp>
          <p:nvSpPr>
            <p:cNvPr id="130" name="Ellipse 129">
              <a:extLst>
                <a:ext uri="{FF2B5EF4-FFF2-40B4-BE49-F238E27FC236}">
                  <a16:creationId xmlns:a16="http://schemas.microsoft.com/office/drawing/2014/main" id="{9139EA24-3050-40C3-B03A-4C95400E6CF4}"/>
                </a:ext>
              </a:extLst>
            </p:cNvPr>
            <p:cNvSpPr/>
            <p:nvPr/>
          </p:nvSpPr>
          <p:spPr bwMode="auto">
            <a:xfrm>
              <a:off x="2056619" y="855422"/>
              <a:ext cx="653239" cy="463863"/>
            </a:xfrm>
            <a:prstGeom prst="ellipse">
              <a:avLst/>
            </a:prstGeom>
            <a:solidFill>
              <a:schemeClr val="accent3">
                <a:lumMod val="60000"/>
                <a:lumOff val="40000"/>
              </a:schemeClr>
            </a:solidFill>
            <a:ln w="76200">
              <a:noFill/>
              <a:round/>
              <a:headEnd/>
              <a:tailEnd/>
            </a:ln>
            <a:effectLst>
              <a:outerShdw blurRad="419100" dist="38100" dir="5400000" sx="107000" sy="107000" algn="t" rotWithShape="0">
                <a:prstClr val="black">
                  <a:alpha val="34000"/>
                </a:prstClr>
              </a:outerShdw>
            </a:effectLst>
            <a:scene3d>
              <a:camera prst="perspectiveRelaxedModerately">
                <a:rot lat="17390630" lon="0" rev="0"/>
              </a:camera>
              <a:lightRig rig="threePt" dir="t"/>
            </a:scene3d>
            <a:sp3d extrusionH="57150" prstMaterial="matte"/>
          </p:spPr>
          <p:txBody>
            <a:bodyPr lIns="0" tIns="0" rIns="0" bIns="0" rtlCol="0" anchor="ctr"/>
            <a:lstStyle/>
            <a:p>
              <a:pPr algn="ctr" defTabSz="4280855" eaLnBrk="1" fontAlgn="auto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491" b="1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131" name="_effect" descr="C:\Users\marc.h\Desktop\Schatten-TEST.png">
              <a:extLst>
                <a:ext uri="{FF2B5EF4-FFF2-40B4-BE49-F238E27FC236}">
                  <a16:creationId xmlns:a16="http://schemas.microsoft.com/office/drawing/2014/main" id="{467D3C20-08F7-4D54-A1C0-4354C319826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gray">
            <a:xfrm flipH="1">
              <a:off x="2114569" y="1056058"/>
              <a:ext cx="441435" cy="66255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grpSp>
          <p:nvGrpSpPr>
            <p:cNvPr id="132" name="Gruppieren 96">
              <a:extLst>
                <a:ext uri="{FF2B5EF4-FFF2-40B4-BE49-F238E27FC236}">
                  <a16:creationId xmlns:a16="http://schemas.microsoft.com/office/drawing/2014/main" id="{F480E1DC-427C-48F0-839C-1396EDF76CB3}"/>
                </a:ext>
              </a:extLst>
            </p:cNvPr>
            <p:cNvGrpSpPr/>
            <p:nvPr/>
          </p:nvGrpSpPr>
          <p:grpSpPr>
            <a:xfrm>
              <a:off x="2108167" y="758012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171" name="Freeform 156">
                <a:extLst>
                  <a:ext uri="{FF2B5EF4-FFF2-40B4-BE49-F238E27FC236}">
                    <a16:creationId xmlns:a16="http://schemas.microsoft.com/office/drawing/2014/main" id="{418AA5DE-E6D1-430E-8588-E7D57F6AB2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72" name="Freeform 159">
                <a:extLst>
                  <a:ext uri="{FF2B5EF4-FFF2-40B4-BE49-F238E27FC236}">
                    <a16:creationId xmlns:a16="http://schemas.microsoft.com/office/drawing/2014/main" id="{27DEE0AE-A73F-4EF9-A0F6-6B4B6DAD5A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73" name="Freeform 160">
                <a:extLst>
                  <a:ext uri="{FF2B5EF4-FFF2-40B4-BE49-F238E27FC236}">
                    <a16:creationId xmlns:a16="http://schemas.microsoft.com/office/drawing/2014/main" id="{01CC07B9-5721-4A4B-BF75-590258D9D3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74" name="Freeform 179">
                <a:extLst>
                  <a:ext uri="{FF2B5EF4-FFF2-40B4-BE49-F238E27FC236}">
                    <a16:creationId xmlns:a16="http://schemas.microsoft.com/office/drawing/2014/main" id="{A4333D01-A283-4D3D-A7EB-DB5DA8806D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75" name="Freeform 180">
                <a:extLst>
                  <a:ext uri="{FF2B5EF4-FFF2-40B4-BE49-F238E27FC236}">
                    <a16:creationId xmlns:a16="http://schemas.microsoft.com/office/drawing/2014/main" id="{808572F8-EB29-4A17-9953-AAFAAEF78F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76" name="Freeform 181">
                <a:extLst>
                  <a:ext uri="{FF2B5EF4-FFF2-40B4-BE49-F238E27FC236}">
                    <a16:creationId xmlns:a16="http://schemas.microsoft.com/office/drawing/2014/main" id="{44416E12-E02F-4AF8-A4A4-6170BE3DA0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77" name="Freeform 182">
                <a:extLst>
                  <a:ext uri="{FF2B5EF4-FFF2-40B4-BE49-F238E27FC236}">
                    <a16:creationId xmlns:a16="http://schemas.microsoft.com/office/drawing/2014/main" id="{48154868-6E0B-454F-AB5C-E909D2B44C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78" name="Freeform 183">
                <a:extLst>
                  <a:ext uri="{FF2B5EF4-FFF2-40B4-BE49-F238E27FC236}">
                    <a16:creationId xmlns:a16="http://schemas.microsoft.com/office/drawing/2014/main" id="{31A62A99-F0BD-4D4D-9546-5FA8C3D491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79" name="Freeform 184">
                <a:extLst>
                  <a:ext uri="{FF2B5EF4-FFF2-40B4-BE49-F238E27FC236}">
                    <a16:creationId xmlns:a16="http://schemas.microsoft.com/office/drawing/2014/main" id="{4B8DF8F3-912E-47CF-B1D9-1670E5C8A0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80" name="Freeform 185">
                <a:extLst>
                  <a:ext uri="{FF2B5EF4-FFF2-40B4-BE49-F238E27FC236}">
                    <a16:creationId xmlns:a16="http://schemas.microsoft.com/office/drawing/2014/main" id="{CB2C5846-67F5-49E9-8A68-BD964E063A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81" name="Freeform 186">
                <a:extLst>
                  <a:ext uri="{FF2B5EF4-FFF2-40B4-BE49-F238E27FC236}">
                    <a16:creationId xmlns:a16="http://schemas.microsoft.com/office/drawing/2014/main" id="{6567FCD3-E58D-4CA4-AC56-25A7786FDC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82" name="Freeform 187">
                <a:extLst>
                  <a:ext uri="{FF2B5EF4-FFF2-40B4-BE49-F238E27FC236}">
                    <a16:creationId xmlns:a16="http://schemas.microsoft.com/office/drawing/2014/main" id="{854E9740-3B8C-4D7B-B18F-CC6E2D49F2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83" name="Freeform 157">
                <a:extLst>
                  <a:ext uri="{FF2B5EF4-FFF2-40B4-BE49-F238E27FC236}">
                    <a16:creationId xmlns:a16="http://schemas.microsoft.com/office/drawing/2014/main" id="{4D846220-E3BC-46E9-84DD-52FAF4176A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84" name="Freeform 158">
                <a:extLst>
                  <a:ext uri="{FF2B5EF4-FFF2-40B4-BE49-F238E27FC236}">
                    <a16:creationId xmlns:a16="http://schemas.microsoft.com/office/drawing/2014/main" id="{8E0208C7-3F5D-4E25-B670-616C9155E3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85" name="Freeform 161">
                <a:extLst>
                  <a:ext uri="{FF2B5EF4-FFF2-40B4-BE49-F238E27FC236}">
                    <a16:creationId xmlns:a16="http://schemas.microsoft.com/office/drawing/2014/main" id="{7254CBE4-6C54-45E5-9303-E79B233207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86" name="Freeform 162">
                <a:extLst>
                  <a:ext uri="{FF2B5EF4-FFF2-40B4-BE49-F238E27FC236}">
                    <a16:creationId xmlns:a16="http://schemas.microsoft.com/office/drawing/2014/main" id="{7A95473B-E55B-433F-AAD9-50BCD4F676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87" name="Freeform 163">
                <a:extLst>
                  <a:ext uri="{FF2B5EF4-FFF2-40B4-BE49-F238E27FC236}">
                    <a16:creationId xmlns:a16="http://schemas.microsoft.com/office/drawing/2014/main" id="{8CDB4BE7-DFB9-4B7E-9839-CBF4A49C52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88" name="Freeform 164">
                <a:extLst>
                  <a:ext uri="{FF2B5EF4-FFF2-40B4-BE49-F238E27FC236}">
                    <a16:creationId xmlns:a16="http://schemas.microsoft.com/office/drawing/2014/main" id="{F3225A25-6847-49ED-B09B-6ACDC9B296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89" name="Freeform 165">
                <a:extLst>
                  <a:ext uri="{FF2B5EF4-FFF2-40B4-BE49-F238E27FC236}">
                    <a16:creationId xmlns:a16="http://schemas.microsoft.com/office/drawing/2014/main" id="{4B3118CF-12CF-48E8-916C-AC829255B1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90" name="Freeform 166">
                <a:extLst>
                  <a:ext uri="{FF2B5EF4-FFF2-40B4-BE49-F238E27FC236}">
                    <a16:creationId xmlns:a16="http://schemas.microsoft.com/office/drawing/2014/main" id="{D6D91E88-2FCB-4C5C-B31B-58905D890F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91" name="Freeform 167">
                <a:extLst>
                  <a:ext uri="{FF2B5EF4-FFF2-40B4-BE49-F238E27FC236}">
                    <a16:creationId xmlns:a16="http://schemas.microsoft.com/office/drawing/2014/main" id="{911660B5-7289-4015-88BD-9BA6797BBB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92" name="Freeform 168">
                <a:extLst>
                  <a:ext uri="{FF2B5EF4-FFF2-40B4-BE49-F238E27FC236}">
                    <a16:creationId xmlns:a16="http://schemas.microsoft.com/office/drawing/2014/main" id="{2E4C614F-8790-47CC-9E25-6F28809655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93" name="Freeform 169">
                <a:extLst>
                  <a:ext uri="{FF2B5EF4-FFF2-40B4-BE49-F238E27FC236}">
                    <a16:creationId xmlns:a16="http://schemas.microsoft.com/office/drawing/2014/main" id="{62658C10-D1B3-4DC3-B6EA-14F5E87BFD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94" name="Freeform 170">
                <a:extLst>
                  <a:ext uri="{FF2B5EF4-FFF2-40B4-BE49-F238E27FC236}">
                    <a16:creationId xmlns:a16="http://schemas.microsoft.com/office/drawing/2014/main" id="{E68AD5B5-3DE0-4D97-AA13-80BDF4E787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95" name="Freeform 171">
                <a:extLst>
                  <a:ext uri="{FF2B5EF4-FFF2-40B4-BE49-F238E27FC236}">
                    <a16:creationId xmlns:a16="http://schemas.microsoft.com/office/drawing/2014/main" id="{D72B62A1-3524-4584-8DFD-363E2886AB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96" name="Freeform 172">
                <a:extLst>
                  <a:ext uri="{FF2B5EF4-FFF2-40B4-BE49-F238E27FC236}">
                    <a16:creationId xmlns:a16="http://schemas.microsoft.com/office/drawing/2014/main" id="{917455DC-60CC-40B6-AA50-33F8EAD915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97" name="Freeform 173">
                <a:extLst>
                  <a:ext uri="{FF2B5EF4-FFF2-40B4-BE49-F238E27FC236}">
                    <a16:creationId xmlns:a16="http://schemas.microsoft.com/office/drawing/2014/main" id="{CAE54F29-7CFB-4591-BDB9-4625CE9C1D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98" name="Freeform 174">
                <a:extLst>
                  <a:ext uri="{FF2B5EF4-FFF2-40B4-BE49-F238E27FC236}">
                    <a16:creationId xmlns:a16="http://schemas.microsoft.com/office/drawing/2014/main" id="{7EBD7D4D-DEBD-4A23-A8F1-54B54E7AB9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99" name="Freeform 175">
                <a:extLst>
                  <a:ext uri="{FF2B5EF4-FFF2-40B4-BE49-F238E27FC236}">
                    <a16:creationId xmlns:a16="http://schemas.microsoft.com/office/drawing/2014/main" id="{20533837-09C0-4FBD-97DE-0377F2A505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00" name="Freeform 176">
                <a:extLst>
                  <a:ext uri="{FF2B5EF4-FFF2-40B4-BE49-F238E27FC236}">
                    <a16:creationId xmlns:a16="http://schemas.microsoft.com/office/drawing/2014/main" id="{EFA3B018-7C2E-4A39-ADE3-49A9409167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01" name="Freeform 177">
                <a:extLst>
                  <a:ext uri="{FF2B5EF4-FFF2-40B4-BE49-F238E27FC236}">
                    <a16:creationId xmlns:a16="http://schemas.microsoft.com/office/drawing/2014/main" id="{6310E86A-4CDE-42F2-A9AC-FF759F7054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02" name="Freeform 178">
                <a:extLst>
                  <a:ext uri="{FF2B5EF4-FFF2-40B4-BE49-F238E27FC236}">
                    <a16:creationId xmlns:a16="http://schemas.microsoft.com/office/drawing/2014/main" id="{179D7C7D-27AB-4166-B097-8FAD1D0CFE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03" name="Freeform 188">
                <a:extLst>
                  <a:ext uri="{FF2B5EF4-FFF2-40B4-BE49-F238E27FC236}">
                    <a16:creationId xmlns:a16="http://schemas.microsoft.com/office/drawing/2014/main" id="{E1718ACE-334A-4F8E-AD33-5DD0B58028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04" name="Freeform 103">
                <a:extLst>
                  <a:ext uri="{FF2B5EF4-FFF2-40B4-BE49-F238E27FC236}">
                    <a16:creationId xmlns:a16="http://schemas.microsoft.com/office/drawing/2014/main" id="{A42DA223-B1AE-415E-AA2F-CF849392C3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05" name="Freeform 104">
                <a:extLst>
                  <a:ext uri="{FF2B5EF4-FFF2-40B4-BE49-F238E27FC236}">
                    <a16:creationId xmlns:a16="http://schemas.microsoft.com/office/drawing/2014/main" id="{B8FBB7C0-9E2A-4285-887D-B477A42AC51A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133" name="AutoShape 25">
              <a:extLst>
                <a:ext uri="{FF2B5EF4-FFF2-40B4-BE49-F238E27FC236}">
                  <a16:creationId xmlns:a16="http://schemas.microsoft.com/office/drawing/2014/main" id="{3CF9A665-8B19-498D-A57B-6E8899818A2F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86187" flipH="1">
              <a:off x="2210977" y="760787"/>
              <a:ext cx="158269" cy="327691"/>
            </a:xfrm>
            <a:custGeom>
              <a:avLst/>
              <a:gdLst>
                <a:gd name="T0" fmla="*/ 794460491 w 792"/>
                <a:gd name="T1" fmla="*/ 729941208 h 2536"/>
                <a:gd name="T2" fmla="*/ 794460491 w 792"/>
                <a:gd name="T3" fmla="*/ 729941208 h 2536"/>
                <a:gd name="T4" fmla="*/ 794460491 w 792"/>
                <a:gd name="T5" fmla="*/ 729941208 h 2536"/>
                <a:gd name="T6" fmla="*/ 794460491 w 792"/>
                <a:gd name="T7" fmla="*/ 729941208 h 2536"/>
                <a:gd name="T8" fmla="*/ 794460491 w 792"/>
                <a:gd name="T9" fmla="*/ 729941208 h 2536"/>
                <a:gd name="T10" fmla="*/ 794460491 w 792"/>
                <a:gd name="T11" fmla="*/ 729941208 h 2536"/>
                <a:gd name="T12" fmla="*/ 794460491 w 792"/>
                <a:gd name="T13" fmla="*/ 729941208 h 2536"/>
                <a:gd name="T14" fmla="*/ 794460491 w 792"/>
                <a:gd name="T15" fmla="*/ 729941208 h 2536"/>
                <a:gd name="T16" fmla="*/ 794460491 w 792"/>
                <a:gd name="T17" fmla="*/ 729941208 h 2536"/>
                <a:gd name="T18" fmla="*/ 794460491 w 792"/>
                <a:gd name="T19" fmla="*/ 729941208 h 2536"/>
                <a:gd name="T20" fmla="*/ 794460491 w 792"/>
                <a:gd name="T21" fmla="*/ 729941208 h 2536"/>
                <a:gd name="T22" fmla="*/ 794460491 w 792"/>
                <a:gd name="T23" fmla="*/ 729941208 h 2536"/>
                <a:gd name="T24" fmla="*/ 794460491 w 792"/>
                <a:gd name="T25" fmla="*/ 729941208 h 2536"/>
                <a:gd name="T26" fmla="*/ 794460491 w 792"/>
                <a:gd name="T27" fmla="*/ 729941208 h 2536"/>
                <a:gd name="T28" fmla="*/ 0 w 792"/>
                <a:gd name="T29" fmla="*/ 729941208 h 2536"/>
                <a:gd name="T30" fmla="*/ 794460491 w 792"/>
                <a:gd name="T31" fmla="*/ 729941208 h 2536"/>
                <a:gd name="T32" fmla="*/ 794460491 w 792"/>
                <a:gd name="T33" fmla="*/ 729941208 h 2536"/>
                <a:gd name="T34" fmla="*/ 794460491 w 792"/>
                <a:gd name="T35" fmla="*/ 729941208 h 2536"/>
                <a:gd name="T36" fmla="*/ 794460491 w 792"/>
                <a:gd name="T37" fmla="*/ 729941208 h 2536"/>
                <a:gd name="T38" fmla="*/ 794460491 w 792"/>
                <a:gd name="T39" fmla="*/ 729941208 h 2536"/>
                <a:gd name="T40" fmla="*/ 794460491 w 792"/>
                <a:gd name="T41" fmla="*/ 729941208 h 2536"/>
                <a:gd name="T42" fmla="*/ 794460491 w 792"/>
                <a:gd name="T43" fmla="*/ 729941208 h 2536"/>
                <a:gd name="T44" fmla="*/ 794460491 w 792"/>
                <a:gd name="T45" fmla="*/ 729941208 h 2536"/>
                <a:gd name="T46" fmla="*/ 794460491 w 792"/>
                <a:gd name="T47" fmla="*/ 729941208 h 2536"/>
                <a:gd name="T48" fmla="*/ 794460491 w 792"/>
                <a:gd name="T49" fmla="*/ 729941208 h 2536"/>
                <a:gd name="T50" fmla="*/ 794460491 w 792"/>
                <a:gd name="T51" fmla="*/ 729941208 h 2536"/>
                <a:gd name="T52" fmla="*/ 794460491 w 792"/>
                <a:gd name="T53" fmla="*/ 729941208 h 2536"/>
                <a:gd name="T54" fmla="*/ 794460491 w 792"/>
                <a:gd name="T55" fmla="*/ 729941208 h 2536"/>
                <a:gd name="T56" fmla="*/ 794460491 w 792"/>
                <a:gd name="T57" fmla="*/ 729941208 h 2536"/>
                <a:gd name="T58" fmla="*/ 794460491 w 792"/>
                <a:gd name="T59" fmla="*/ 729941208 h 2536"/>
                <a:gd name="T60" fmla="*/ 794460491 w 792"/>
                <a:gd name="T61" fmla="*/ 729941208 h 2536"/>
                <a:gd name="T62" fmla="*/ 794460491 w 792"/>
                <a:gd name="T63" fmla="*/ 729941208 h 2536"/>
                <a:gd name="T64" fmla="*/ 794460491 w 792"/>
                <a:gd name="T65" fmla="*/ 729941208 h 2536"/>
                <a:gd name="T66" fmla="*/ 794460491 w 792"/>
                <a:gd name="T67" fmla="*/ 729941208 h 2536"/>
                <a:gd name="T68" fmla="*/ 794460491 w 792"/>
                <a:gd name="T69" fmla="*/ 729941208 h 2536"/>
                <a:gd name="T70" fmla="*/ 794460491 w 792"/>
                <a:gd name="T71" fmla="*/ 729941208 h 2536"/>
                <a:gd name="T72" fmla="*/ 794460491 w 792"/>
                <a:gd name="T73" fmla="*/ 729941208 h 2536"/>
                <a:gd name="T74" fmla="*/ 794460491 w 792"/>
                <a:gd name="T75" fmla="*/ 729941208 h 2536"/>
                <a:gd name="T76" fmla="*/ 794460491 w 792"/>
                <a:gd name="T77" fmla="*/ 729941208 h 2536"/>
                <a:gd name="T78" fmla="*/ 794460491 w 792"/>
                <a:gd name="T79" fmla="*/ 729941208 h 2536"/>
                <a:gd name="T80" fmla="*/ 794460491 w 792"/>
                <a:gd name="T81" fmla="*/ 729941208 h 2536"/>
                <a:gd name="T82" fmla="*/ 794460491 w 792"/>
                <a:gd name="T83" fmla="*/ 729941208 h 2536"/>
                <a:gd name="T84" fmla="*/ 794460491 w 792"/>
                <a:gd name="T85" fmla="*/ 729941208 h 2536"/>
                <a:gd name="T86" fmla="*/ 794460491 w 792"/>
                <a:gd name="T87" fmla="*/ 729941208 h 2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92"/>
                <a:gd name="T133" fmla="*/ 0 h 2536"/>
                <a:gd name="T134" fmla="*/ 792 w 792"/>
                <a:gd name="T135" fmla="*/ 2536 h 2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92" h="2536">
                  <a:moveTo>
                    <a:pt x="752" y="900"/>
                  </a:moveTo>
                  <a:cubicBezTo>
                    <a:pt x="752" y="888"/>
                    <a:pt x="744" y="880"/>
                    <a:pt x="740" y="872"/>
                  </a:cubicBezTo>
                  <a:cubicBezTo>
                    <a:pt x="720" y="760"/>
                    <a:pt x="736" y="656"/>
                    <a:pt x="724" y="548"/>
                  </a:cubicBezTo>
                  <a:cubicBezTo>
                    <a:pt x="724" y="524"/>
                    <a:pt x="724" y="500"/>
                    <a:pt x="716" y="480"/>
                  </a:cubicBezTo>
                  <a:cubicBezTo>
                    <a:pt x="712" y="472"/>
                    <a:pt x="704" y="464"/>
                    <a:pt x="696" y="456"/>
                  </a:cubicBezTo>
                  <a:cubicBezTo>
                    <a:pt x="688" y="452"/>
                    <a:pt x="668" y="452"/>
                    <a:pt x="672" y="444"/>
                  </a:cubicBezTo>
                  <a:cubicBezTo>
                    <a:pt x="688" y="332"/>
                    <a:pt x="664" y="224"/>
                    <a:pt x="656" y="116"/>
                  </a:cubicBezTo>
                  <a:cubicBezTo>
                    <a:pt x="652" y="56"/>
                    <a:pt x="600" y="0"/>
                    <a:pt x="532" y="8"/>
                  </a:cubicBezTo>
                  <a:cubicBezTo>
                    <a:pt x="512" y="12"/>
                    <a:pt x="492" y="16"/>
                    <a:pt x="472" y="32"/>
                  </a:cubicBezTo>
                  <a:cubicBezTo>
                    <a:pt x="440" y="60"/>
                    <a:pt x="416" y="88"/>
                    <a:pt x="400" y="124"/>
                  </a:cubicBezTo>
                  <a:cubicBezTo>
                    <a:pt x="392" y="148"/>
                    <a:pt x="380" y="164"/>
                    <a:pt x="372" y="188"/>
                  </a:cubicBezTo>
                  <a:cubicBezTo>
                    <a:pt x="364" y="212"/>
                    <a:pt x="364" y="232"/>
                    <a:pt x="360" y="256"/>
                  </a:cubicBezTo>
                  <a:cubicBezTo>
                    <a:pt x="356" y="272"/>
                    <a:pt x="364" y="284"/>
                    <a:pt x="364" y="296"/>
                  </a:cubicBezTo>
                  <a:cubicBezTo>
                    <a:pt x="364" y="352"/>
                    <a:pt x="308" y="388"/>
                    <a:pt x="264" y="416"/>
                  </a:cubicBezTo>
                  <a:cubicBezTo>
                    <a:pt x="240" y="432"/>
                    <a:pt x="204" y="428"/>
                    <a:pt x="184" y="452"/>
                  </a:cubicBezTo>
                  <a:cubicBezTo>
                    <a:pt x="144" y="496"/>
                    <a:pt x="160" y="556"/>
                    <a:pt x="144" y="608"/>
                  </a:cubicBezTo>
                  <a:cubicBezTo>
                    <a:pt x="144" y="612"/>
                    <a:pt x="156" y="616"/>
                    <a:pt x="152" y="628"/>
                  </a:cubicBezTo>
                  <a:cubicBezTo>
                    <a:pt x="148" y="696"/>
                    <a:pt x="156" y="764"/>
                    <a:pt x="140" y="832"/>
                  </a:cubicBezTo>
                  <a:cubicBezTo>
                    <a:pt x="128" y="876"/>
                    <a:pt x="120" y="916"/>
                    <a:pt x="116" y="960"/>
                  </a:cubicBezTo>
                  <a:cubicBezTo>
                    <a:pt x="112" y="1024"/>
                    <a:pt x="116" y="1088"/>
                    <a:pt x="116" y="1152"/>
                  </a:cubicBezTo>
                  <a:cubicBezTo>
                    <a:pt x="116" y="1212"/>
                    <a:pt x="108" y="1272"/>
                    <a:pt x="96" y="1336"/>
                  </a:cubicBezTo>
                  <a:cubicBezTo>
                    <a:pt x="92" y="1360"/>
                    <a:pt x="104" y="1384"/>
                    <a:pt x="120" y="1404"/>
                  </a:cubicBezTo>
                  <a:cubicBezTo>
                    <a:pt x="136" y="1424"/>
                    <a:pt x="164" y="1432"/>
                    <a:pt x="188" y="1436"/>
                  </a:cubicBezTo>
                  <a:cubicBezTo>
                    <a:pt x="192" y="1436"/>
                    <a:pt x="196" y="1440"/>
                    <a:pt x="196" y="1444"/>
                  </a:cubicBezTo>
                  <a:cubicBezTo>
                    <a:pt x="192" y="1540"/>
                    <a:pt x="192" y="1636"/>
                    <a:pt x="180" y="1736"/>
                  </a:cubicBezTo>
                  <a:cubicBezTo>
                    <a:pt x="180" y="1744"/>
                    <a:pt x="188" y="1748"/>
                    <a:pt x="188" y="1752"/>
                  </a:cubicBezTo>
                  <a:cubicBezTo>
                    <a:pt x="188" y="1820"/>
                    <a:pt x="152" y="1884"/>
                    <a:pt x="148" y="1956"/>
                  </a:cubicBezTo>
                  <a:cubicBezTo>
                    <a:pt x="144" y="2056"/>
                    <a:pt x="156" y="2152"/>
                    <a:pt x="148" y="2252"/>
                  </a:cubicBezTo>
                  <a:cubicBezTo>
                    <a:pt x="148" y="2316"/>
                    <a:pt x="120" y="2376"/>
                    <a:pt x="88" y="2432"/>
                  </a:cubicBezTo>
                  <a:cubicBezTo>
                    <a:pt x="64" y="2468"/>
                    <a:pt x="24" y="2484"/>
                    <a:pt x="0" y="2516"/>
                  </a:cubicBezTo>
                  <a:cubicBezTo>
                    <a:pt x="52" y="2512"/>
                    <a:pt x="104" y="2516"/>
                    <a:pt x="152" y="2492"/>
                  </a:cubicBezTo>
                  <a:cubicBezTo>
                    <a:pt x="148" y="2460"/>
                    <a:pt x="180" y="2424"/>
                    <a:pt x="208" y="2424"/>
                  </a:cubicBezTo>
                  <a:cubicBezTo>
                    <a:pt x="224" y="2428"/>
                    <a:pt x="204" y="2460"/>
                    <a:pt x="220" y="2476"/>
                  </a:cubicBezTo>
                  <a:cubicBezTo>
                    <a:pt x="220" y="2448"/>
                    <a:pt x="224" y="2420"/>
                    <a:pt x="244" y="2396"/>
                  </a:cubicBezTo>
                  <a:cubicBezTo>
                    <a:pt x="268" y="2372"/>
                    <a:pt x="248" y="2336"/>
                    <a:pt x="224" y="2312"/>
                  </a:cubicBezTo>
                  <a:cubicBezTo>
                    <a:pt x="224" y="2308"/>
                    <a:pt x="221" y="2300"/>
                    <a:pt x="220" y="2292"/>
                  </a:cubicBezTo>
                  <a:cubicBezTo>
                    <a:pt x="216" y="2244"/>
                    <a:pt x="224" y="2196"/>
                    <a:pt x="236" y="2144"/>
                  </a:cubicBezTo>
                  <a:cubicBezTo>
                    <a:pt x="244" y="2084"/>
                    <a:pt x="264" y="2032"/>
                    <a:pt x="280" y="1972"/>
                  </a:cubicBezTo>
                  <a:cubicBezTo>
                    <a:pt x="296" y="1916"/>
                    <a:pt x="284" y="1856"/>
                    <a:pt x="304" y="1800"/>
                  </a:cubicBezTo>
                  <a:cubicBezTo>
                    <a:pt x="308" y="1784"/>
                    <a:pt x="312" y="1760"/>
                    <a:pt x="328" y="1752"/>
                  </a:cubicBezTo>
                  <a:cubicBezTo>
                    <a:pt x="352" y="1740"/>
                    <a:pt x="380" y="1740"/>
                    <a:pt x="404" y="1744"/>
                  </a:cubicBezTo>
                  <a:cubicBezTo>
                    <a:pt x="432" y="1744"/>
                    <a:pt x="460" y="1748"/>
                    <a:pt x="488" y="1752"/>
                  </a:cubicBezTo>
                  <a:cubicBezTo>
                    <a:pt x="500" y="1756"/>
                    <a:pt x="504" y="1768"/>
                    <a:pt x="508" y="1780"/>
                  </a:cubicBezTo>
                  <a:cubicBezTo>
                    <a:pt x="512" y="1840"/>
                    <a:pt x="496" y="1896"/>
                    <a:pt x="488" y="1956"/>
                  </a:cubicBezTo>
                  <a:cubicBezTo>
                    <a:pt x="484" y="2024"/>
                    <a:pt x="496" y="2092"/>
                    <a:pt x="480" y="2164"/>
                  </a:cubicBezTo>
                  <a:cubicBezTo>
                    <a:pt x="476" y="2192"/>
                    <a:pt x="476" y="2220"/>
                    <a:pt x="468" y="2248"/>
                  </a:cubicBezTo>
                  <a:cubicBezTo>
                    <a:pt x="460" y="2272"/>
                    <a:pt x="448" y="2292"/>
                    <a:pt x="444" y="2320"/>
                  </a:cubicBezTo>
                  <a:cubicBezTo>
                    <a:pt x="440" y="2328"/>
                    <a:pt x="428" y="2328"/>
                    <a:pt x="428" y="2340"/>
                  </a:cubicBezTo>
                  <a:cubicBezTo>
                    <a:pt x="424" y="2352"/>
                    <a:pt x="420" y="2364"/>
                    <a:pt x="420" y="2376"/>
                  </a:cubicBezTo>
                  <a:cubicBezTo>
                    <a:pt x="424" y="2392"/>
                    <a:pt x="440" y="2404"/>
                    <a:pt x="444" y="2416"/>
                  </a:cubicBezTo>
                  <a:cubicBezTo>
                    <a:pt x="452" y="2432"/>
                    <a:pt x="452" y="2452"/>
                    <a:pt x="448" y="2468"/>
                  </a:cubicBezTo>
                  <a:cubicBezTo>
                    <a:pt x="444" y="2476"/>
                    <a:pt x="436" y="2488"/>
                    <a:pt x="444" y="2496"/>
                  </a:cubicBezTo>
                  <a:cubicBezTo>
                    <a:pt x="480" y="2524"/>
                    <a:pt x="564" y="2536"/>
                    <a:pt x="552" y="2472"/>
                  </a:cubicBezTo>
                  <a:cubicBezTo>
                    <a:pt x="540" y="2432"/>
                    <a:pt x="512" y="2392"/>
                    <a:pt x="516" y="2348"/>
                  </a:cubicBezTo>
                  <a:cubicBezTo>
                    <a:pt x="516" y="2312"/>
                    <a:pt x="520" y="2276"/>
                    <a:pt x="532" y="2240"/>
                  </a:cubicBezTo>
                  <a:cubicBezTo>
                    <a:pt x="596" y="2088"/>
                    <a:pt x="640" y="1932"/>
                    <a:pt x="624" y="1768"/>
                  </a:cubicBezTo>
                  <a:cubicBezTo>
                    <a:pt x="652" y="1744"/>
                    <a:pt x="696" y="1748"/>
                    <a:pt x="732" y="1748"/>
                  </a:cubicBezTo>
                  <a:cubicBezTo>
                    <a:pt x="736" y="1640"/>
                    <a:pt x="708" y="1536"/>
                    <a:pt x="724" y="1428"/>
                  </a:cubicBezTo>
                  <a:cubicBezTo>
                    <a:pt x="728" y="1408"/>
                    <a:pt x="756" y="1416"/>
                    <a:pt x="768" y="1404"/>
                  </a:cubicBezTo>
                  <a:cubicBezTo>
                    <a:pt x="784" y="1392"/>
                    <a:pt x="792" y="1368"/>
                    <a:pt x="792" y="1356"/>
                  </a:cubicBezTo>
                  <a:cubicBezTo>
                    <a:pt x="740" y="1204"/>
                    <a:pt x="784" y="1060"/>
                    <a:pt x="752" y="900"/>
                  </a:cubicBezTo>
                  <a:close/>
                  <a:moveTo>
                    <a:pt x="208" y="1272"/>
                  </a:moveTo>
                  <a:cubicBezTo>
                    <a:pt x="200" y="1316"/>
                    <a:pt x="200" y="1364"/>
                    <a:pt x="200" y="1408"/>
                  </a:cubicBezTo>
                  <a:cubicBezTo>
                    <a:pt x="200" y="1416"/>
                    <a:pt x="204" y="1432"/>
                    <a:pt x="192" y="1428"/>
                  </a:cubicBezTo>
                  <a:cubicBezTo>
                    <a:pt x="176" y="1428"/>
                    <a:pt x="172" y="1420"/>
                    <a:pt x="160" y="1408"/>
                  </a:cubicBezTo>
                  <a:cubicBezTo>
                    <a:pt x="160" y="1404"/>
                    <a:pt x="160" y="1400"/>
                    <a:pt x="160" y="1396"/>
                  </a:cubicBezTo>
                  <a:cubicBezTo>
                    <a:pt x="148" y="1400"/>
                    <a:pt x="140" y="1388"/>
                    <a:pt x="136" y="1376"/>
                  </a:cubicBezTo>
                  <a:cubicBezTo>
                    <a:pt x="128" y="1356"/>
                    <a:pt x="132" y="1324"/>
                    <a:pt x="148" y="1324"/>
                  </a:cubicBezTo>
                  <a:cubicBezTo>
                    <a:pt x="172" y="1320"/>
                    <a:pt x="164" y="1364"/>
                    <a:pt x="172" y="1384"/>
                  </a:cubicBezTo>
                  <a:cubicBezTo>
                    <a:pt x="176" y="1388"/>
                    <a:pt x="180" y="1388"/>
                    <a:pt x="184" y="1388"/>
                  </a:cubicBezTo>
                  <a:cubicBezTo>
                    <a:pt x="180" y="1352"/>
                    <a:pt x="184" y="1312"/>
                    <a:pt x="176" y="1276"/>
                  </a:cubicBezTo>
                  <a:cubicBezTo>
                    <a:pt x="172" y="1252"/>
                    <a:pt x="152" y="1236"/>
                    <a:pt x="156" y="1208"/>
                  </a:cubicBezTo>
                  <a:cubicBezTo>
                    <a:pt x="180" y="1060"/>
                    <a:pt x="224" y="928"/>
                    <a:pt x="232" y="780"/>
                  </a:cubicBezTo>
                  <a:cubicBezTo>
                    <a:pt x="232" y="756"/>
                    <a:pt x="224" y="724"/>
                    <a:pt x="248" y="712"/>
                  </a:cubicBezTo>
                  <a:cubicBezTo>
                    <a:pt x="264" y="704"/>
                    <a:pt x="257" y="732"/>
                    <a:pt x="260" y="744"/>
                  </a:cubicBezTo>
                  <a:cubicBezTo>
                    <a:pt x="304" y="928"/>
                    <a:pt x="224" y="1092"/>
                    <a:pt x="208" y="1272"/>
                  </a:cubicBezTo>
                  <a:close/>
                  <a:moveTo>
                    <a:pt x="656" y="876"/>
                  </a:moveTo>
                  <a:cubicBezTo>
                    <a:pt x="656" y="888"/>
                    <a:pt x="641" y="882"/>
                    <a:pt x="632" y="876"/>
                  </a:cubicBezTo>
                  <a:cubicBezTo>
                    <a:pt x="620" y="868"/>
                    <a:pt x="620" y="852"/>
                    <a:pt x="624" y="844"/>
                  </a:cubicBezTo>
                  <a:cubicBezTo>
                    <a:pt x="632" y="824"/>
                    <a:pt x="624" y="800"/>
                    <a:pt x="616" y="780"/>
                  </a:cubicBezTo>
                  <a:cubicBezTo>
                    <a:pt x="608" y="764"/>
                    <a:pt x="608" y="744"/>
                    <a:pt x="624" y="728"/>
                  </a:cubicBezTo>
                  <a:cubicBezTo>
                    <a:pt x="628" y="728"/>
                    <a:pt x="632" y="728"/>
                    <a:pt x="636" y="728"/>
                  </a:cubicBezTo>
                  <a:cubicBezTo>
                    <a:pt x="664" y="776"/>
                    <a:pt x="660" y="828"/>
                    <a:pt x="656" y="876"/>
                  </a:cubicBezTo>
                  <a:close/>
                  <a:moveTo>
                    <a:pt x="728" y="1400"/>
                  </a:moveTo>
                  <a:cubicBezTo>
                    <a:pt x="724" y="1400"/>
                    <a:pt x="716" y="1392"/>
                    <a:pt x="720" y="1384"/>
                  </a:cubicBezTo>
                  <a:cubicBezTo>
                    <a:pt x="728" y="1364"/>
                    <a:pt x="716" y="1332"/>
                    <a:pt x="748" y="1332"/>
                  </a:cubicBezTo>
                  <a:cubicBezTo>
                    <a:pt x="752" y="1332"/>
                    <a:pt x="752" y="1341"/>
                    <a:pt x="756" y="1348"/>
                  </a:cubicBezTo>
                  <a:cubicBezTo>
                    <a:pt x="768" y="1372"/>
                    <a:pt x="756" y="1400"/>
                    <a:pt x="728" y="1400"/>
                  </a:cubicBezTo>
                  <a:close/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428085" tIns="214043" rIns="428085" bIns="214043" numCol="1" anchor="t" anchorCtr="0" compatLnSpc="1">
              <a:prstTxWarp prst="textNoShape">
                <a:avLst/>
              </a:prstTxWarp>
            </a:bodyPr>
            <a:lstStyle/>
            <a:p>
              <a:pPr defTabSz="428085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554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" name="AutoShape 22">
              <a:extLst>
                <a:ext uri="{FF2B5EF4-FFF2-40B4-BE49-F238E27FC236}">
                  <a16:creationId xmlns:a16="http://schemas.microsoft.com/office/drawing/2014/main" id="{59B544EA-7B1E-4466-8886-39F2E4B1526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315739" y="744535"/>
              <a:ext cx="139888" cy="340342"/>
            </a:xfrm>
            <a:custGeom>
              <a:avLst/>
              <a:gdLst>
                <a:gd name="T0" fmla="*/ 808464432 w 680"/>
                <a:gd name="T1" fmla="*/ 813928491 h 2335"/>
                <a:gd name="T2" fmla="*/ 808464432 w 680"/>
                <a:gd name="T3" fmla="*/ 813928491 h 2335"/>
                <a:gd name="T4" fmla="*/ 808464432 w 680"/>
                <a:gd name="T5" fmla="*/ 813928491 h 2335"/>
                <a:gd name="T6" fmla="*/ 808464432 w 680"/>
                <a:gd name="T7" fmla="*/ 813928491 h 2335"/>
                <a:gd name="T8" fmla="*/ 808464432 w 680"/>
                <a:gd name="T9" fmla="*/ 813928491 h 2335"/>
                <a:gd name="T10" fmla="*/ 808464432 w 680"/>
                <a:gd name="T11" fmla="*/ 813928491 h 2335"/>
                <a:gd name="T12" fmla="*/ 808464432 w 680"/>
                <a:gd name="T13" fmla="*/ 813928491 h 2335"/>
                <a:gd name="T14" fmla="*/ 808464432 w 680"/>
                <a:gd name="T15" fmla="*/ 813928491 h 2335"/>
                <a:gd name="T16" fmla="*/ 808464432 w 680"/>
                <a:gd name="T17" fmla="*/ 813928491 h 2335"/>
                <a:gd name="T18" fmla="*/ 808464432 w 680"/>
                <a:gd name="T19" fmla="*/ 813928491 h 2335"/>
                <a:gd name="T20" fmla="*/ 808464432 w 680"/>
                <a:gd name="T21" fmla="*/ 813928491 h 2335"/>
                <a:gd name="T22" fmla="*/ 808464432 w 680"/>
                <a:gd name="T23" fmla="*/ 813928491 h 2335"/>
                <a:gd name="T24" fmla="*/ 808464432 w 680"/>
                <a:gd name="T25" fmla="*/ 813928491 h 2335"/>
                <a:gd name="T26" fmla="*/ 808464432 w 680"/>
                <a:gd name="T27" fmla="*/ 813928491 h 2335"/>
                <a:gd name="T28" fmla="*/ 808464432 w 680"/>
                <a:gd name="T29" fmla="*/ 813928491 h 2335"/>
                <a:gd name="T30" fmla="*/ 808464432 w 680"/>
                <a:gd name="T31" fmla="*/ 813928491 h 2335"/>
                <a:gd name="T32" fmla="*/ 808464432 w 680"/>
                <a:gd name="T33" fmla="*/ 813928491 h 2335"/>
                <a:gd name="T34" fmla="*/ 808464432 w 680"/>
                <a:gd name="T35" fmla="*/ 813928491 h 2335"/>
                <a:gd name="T36" fmla="*/ 808464432 w 680"/>
                <a:gd name="T37" fmla="*/ 813928491 h 2335"/>
                <a:gd name="T38" fmla="*/ 808464432 w 680"/>
                <a:gd name="T39" fmla="*/ 813928491 h 2335"/>
                <a:gd name="T40" fmla="*/ 808464432 w 680"/>
                <a:gd name="T41" fmla="*/ 813928491 h 2335"/>
                <a:gd name="T42" fmla="*/ 808464432 w 680"/>
                <a:gd name="T43" fmla="*/ 813928491 h 2335"/>
                <a:gd name="T44" fmla="*/ 808464432 w 680"/>
                <a:gd name="T45" fmla="*/ 813928491 h 2335"/>
                <a:gd name="T46" fmla="*/ 808464432 w 680"/>
                <a:gd name="T47" fmla="*/ 813928491 h 2335"/>
                <a:gd name="T48" fmla="*/ 808464432 w 680"/>
                <a:gd name="T49" fmla="*/ 813928491 h 2335"/>
                <a:gd name="T50" fmla="*/ 808464432 w 680"/>
                <a:gd name="T51" fmla="*/ 813928491 h 2335"/>
                <a:gd name="T52" fmla="*/ 808464432 w 680"/>
                <a:gd name="T53" fmla="*/ 813928491 h 2335"/>
                <a:gd name="T54" fmla="*/ 808464432 w 680"/>
                <a:gd name="T55" fmla="*/ 813928491 h 2335"/>
                <a:gd name="T56" fmla="*/ 808464432 w 680"/>
                <a:gd name="T57" fmla="*/ 813928491 h 2335"/>
                <a:gd name="T58" fmla="*/ 808464432 w 680"/>
                <a:gd name="T59" fmla="*/ 813928491 h 2335"/>
                <a:gd name="T60" fmla="*/ 808464432 w 680"/>
                <a:gd name="T61" fmla="*/ 813928491 h 2335"/>
                <a:gd name="T62" fmla="*/ 808464432 w 680"/>
                <a:gd name="T63" fmla="*/ 813928491 h 2335"/>
                <a:gd name="T64" fmla="*/ 808464432 w 680"/>
                <a:gd name="T65" fmla="*/ 813928491 h 2335"/>
                <a:gd name="T66" fmla="*/ 808464432 w 680"/>
                <a:gd name="T67" fmla="*/ 813928491 h 2335"/>
                <a:gd name="T68" fmla="*/ 808464432 w 680"/>
                <a:gd name="T69" fmla="*/ 813928491 h 2335"/>
                <a:gd name="T70" fmla="*/ 808464432 w 680"/>
                <a:gd name="T71" fmla="*/ 813928491 h 2335"/>
                <a:gd name="T72" fmla="*/ 808464432 w 680"/>
                <a:gd name="T73" fmla="*/ 813928491 h 2335"/>
                <a:gd name="T74" fmla="*/ 808464432 w 680"/>
                <a:gd name="T75" fmla="*/ 813928491 h 2335"/>
                <a:gd name="T76" fmla="*/ 808464432 w 680"/>
                <a:gd name="T77" fmla="*/ 813928491 h 2335"/>
                <a:gd name="T78" fmla="*/ 808464432 w 680"/>
                <a:gd name="T79" fmla="*/ 813928491 h 2335"/>
                <a:gd name="T80" fmla="*/ 808464432 w 680"/>
                <a:gd name="T81" fmla="*/ 813928491 h 2335"/>
                <a:gd name="T82" fmla="*/ 808464432 w 680"/>
                <a:gd name="T83" fmla="*/ 813928491 h 2335"/>
                <a:gd name="T84" fmla="*/ 808464432 w 680"/>
                <a:gd name="T85" fmla="*/ 813928491 h 2335"/>
                <a:gd name="T86" fmla="*/ 808464432 w 680"/>
                <a:gd name="T87" fmla="*/ 813928491 h 2335"/>
                <a:gd name="T88" fmla="*/ 808464432 w 680"/>
                <a:gd name="T89" fmla="*/ 813928491 h 2335"/>
                <a:gd name="T90" fmla="*/ 808464432 w 680"/>
                <a:gd name="T91" fmla="*/ 813928491 h 2335"/>
                <a:gd name="T92" fmla="*/ 808464432 w 680"/>
                <a:gd name="T93" fmla="*/ 813928491 h 2335"/>
                <a:gd name="T94" fmla="*/ 808464432 w 680"/>
                <a:gd name="T95" fmla="*/ 813928491 h 2335"/>
                <a:gd name="T96" fmla="*/ 808464432 w 680"/>
                <a:gd name="T97" fmla="*/ 813928491 h 2335"/>
                <a:gd name="T98" fmla="*/ 808464432 w 680"/>
                <a:gd name="T99" fmla="*/ 813928491 h 2335"/>
                <a:gd name="T100" fmla="*/ 808464432 w 680"/>
                <a:gd name="T101" fmla="*/ 813928491 h 2335"/>
                <a:gd name="T102" fmla="*/ 808464432 w 680"/>
                <a:gd name="T103" fmla="*/ 813928491 h 2335"/>
                <a:gd name="T104" fmla="*/ 808464432 w 680"/>
                <a:gd name="T105" fmla="*/ 813928491 h 2335"/>
                <a:gd name="T106" fmla="*/ 808464432 w 680"/>
                <a:gd name="T107" fmla="*/ 813928491 h 2335"/>
                <a:gd name="T108" fmla="*/ 808464432 w 680"/>
                <a:gd name="T109" fmla="*/ 813928491 h 2335"/>
                <a:gd name="T110" fmla="*/ 808464432 w 680"/>
                <a:gd name="T111" fmla="*/ 813928491 h 2335"/>
                <a:gd name="T112" fmla="*/ 808464432 w 680"/>
                <a:gd name="T113" fmla="*/ 813928491 h 2335"/>
                <a:gd name="T114" fmla="*/ 808464432 w 680"/>
                <a:gd name="T115" fmla="*/ 813928491 h 233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0"/>
                <a:gd name="T175" fmla="*/ 0 h 2335"/>
                <a:gd name="T176" fmla="*/ 680 w 680"/>
                <a:gd name="T177" fmla="*/ 2335 h 233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0" h="2335">
                  <a:moveTo>
                    <a:pt x="676" y="998"/>
                  </a:moveTo>
                  <a:cubicBezTo>
                    <a:pt x="670" y="976"/>
                    <a:pt x="677" y="952"/>
                    <a:pt x="674" y="929"/>
                  </a:cubicBezTo>
                  <a:cubicBezTo>
                    <a:pt x="673" y="919"/>
                    <a:pt x="670" y="909"/>
                    <a:pt x="668" y="898"/>
                  </a:cubicBezTo>
                  <a:cubicBezTo>
                    <a:pt x="666" y="885"/>
                    <a:pt x="667" y="872"/>
                    <a:pt x="667" y="859"/>
                  </a:cubicBezTo>
                  <a:cubicBezTo>
                    <a:pt x="666" y="834"/>
                    <a:pt x="662" y="810"/>
                    <a:pt x="662" y="785"/>
                  </a:cubicBezTo>
                  <a:cubicBezTo>
                    <a:pt x="663" y="759"/>
                    <a:pt x="664" y="732"/>
                    <a:pt x="662" y="706"/>
                  </a:cubicBezTo>
                  <a:cubicBezTo>
                    <a:pt x="657" y="647"/>
                    <a:pt x="645" y="590"/>
                    <a:pt x="632" y="533"/>
                  </a:cubicBezTo>
                  <a:cubicBezTo>
                    <a:pt x="628" y="513"/>
                    <a:pt x="623" y="492"/>
                    <a:pt x="618" y="472"/>
                  </a:cubicBezTo>
                  <a:cubicBezTo>
                    <a:pt x="613" y="453"/>
                    <a:pt x="607" y="436"/>
                    <a:pt x="592" y="423"/>
                  </a:cubicBezTo>
                  <a:cubicBezTo>
                    <a:pt x="572" y="405"/>
                    <a:pt x="547" y="403"/>
                    <a:pt x="524" y="392"/>
                  </a:cubicBezTo>
                  <a:cubicBezTo>
                    <a:pt x="506" y="384"/>
                    <a:pt x="489" y="373"/>
                    <a:pt x="471" y="364"/>
                  </a:cubicBezTo>
                  <a:cubicBezTo>
                    <a:pt x="463" y="361"/>
                    <a:pt x="455" y="357"/>
                    <a:pt x="449" y="351"/>
                  </a:cubicBezTo>
                  <a:cubicBezTo>
                    <a:pt x="443" y="344"/>
                    <a:pt x="438" y="342"/>
                    <a:pt x="430" y="339"/>
                  </a:cubicBezTo>
                  <a:cubicBezTo>
                    <a:pt x="420" y="336"/>
                    <a:pt x="415" y="332"/>
                    <a:pt x="415" y="323"/>
                  </a:cubicBezTo>
                  <a:cubicBezTo>
                    <a:pt x="415" y="314"/>
                    <a:pt x="415" y="304"/>
                    <a:pt x="414" y="294"/>
                  </a:cubicBezTo>
                  <a:cubicBezTo>
                    <a:pt x="413" y="285"/>
                    <a:pt x="412" y="279"/>
                    <a:pt x="419" y="272"/>
                  </a:cubicBezTo>
                  <a:cubicBezTo>
                    <a:pt x="426" y="263"/>
                    <a:pt x="428" y="252"/>
                    <a:pt x="429" y="241"/>
                  </a:cubicBezTo>
                  <a:cubicBezTo>
                    <a:pt x="430" y="234"/>
                    <a:pt x="431" y="227"/>
                    <a:pt x="431" y="220"/>
                  </a:cubicBezTo>
                  <a:cubicBezTo>
                    <a:pt x="431" y="214"/>
                    <a:pt x="431" y="215"/>
                    <a:pt x="436" y="216"/>
                  </a:cubicBezTo>
                  <a:cubicBezTo>
                    <a:pt x="450" y="219"/>
                    <a:pt x="451" y="211"/>
                    <a:pt x="456" y="200"/>
                  </a:cubicBezTo>
                  <a:cubicBezTo>
                    <a:pt x="461" y="190"/>
                    <a:pt x="474" y="134"/>
                    <a:pt x="449" y="140"/>
                  </a:cubicBezTo>
                  <a:cubicBezTo>
                    <a:pt x="446" y="141"/>
                    <a:pt x="449" y="130"/>
                    <a:pt x="449" y="128"/>
                  </a:cubicBezTo>
                  <a:cubicBezTo>
                    <a:pt x="450" y="121"/>
                    <a:pt x="453" y="114"/>
                    <a:pt x="451" y="106"/>
                  </a:cubicBezTo>
                  <a:cubicBezTo>
                    <a:pt x="448" y="95"/>
                    <a:pt x="452" y="86"/>
                    <a:pt x="450" y="76"/>
                  </a:cubicBezTo>
                  <a:cubicBezTo>
                    <a:pt x="449" y="66"/>
                    <a:pt x="442" y="57"/>
                    <a:pt x="438" y="48"/>
                  </a:cubicBezTo>
                  <a:cubicBezTo>
                    <a:pt x="435" y="43"/>
                    <a:pt x="435" y="38"/>
                    <a:pt x="429" y="35"/>
                  </a:cubicBezTo>
                  <a:cubicBezTo>
                    <a:pt x="423" y="32"/>
                    <a:pt x="421" y="28"/>
                    <a:pt x="416" y="24"/>
                  </a:cubicBezTo>
                  <a:cubicBezTo>
                    <a:pt x="408" y="17"/>
                    <a:pt x="397" y="5"/>
                    <a:pt x="386" y="7"/>
                  </a:cubicBezTo>
                  <a:cubicBezTo>
                    <a:pt x="381" y="9"/>
                    <a:pt x="376" y="5"/>
                    <a:pt x="371" y="3"/>
                  </a:cubicBezTo>
                  <a:cubicBezTo>
                    <a:pt x="369" y="3"/>
                    <a:pt x="366" y="3"/>
                    <a:pt x="364" y="3"/>
                  </a:cubicBezTo>
                  <a:cubicBezTo>
                    <a:pt x="360" y="3"/>
                    <a:pt x="356" y="0"/>
                    <a:pt x="352" y="0"/>
                  </a:cubicBezTo>
                  <a:cubicBezTo>
                    <a:pt x="346" y="0"/>
                    <a:pt x="338" y="1"/>
                    <a:pt x="332" y="1"/>
                  </a:cubicBezTo>
                  <a:cubicBezTo>
                    <a:pt x="330" y="2"/>
                    <a:pt x="328" y="4"/>
                    <a:pt x="325" y="4"/>
                  </a:cubicBezTo>
                  <a:cubicBezTo>
                    <a:pt x="322" y="5"/>
                    <a:pt x="320" y="3"/>
                    <a:pt x="316" y="3"/>
                  </a:cubicBezTo>
                  <a:cubicBezTo>
                    <a:pt x="311" y="3"/>
                    <a:pt x="307" y="9"/>
                    <a:pt x="301" y="10"/>
                  </a:cubicBezTo>
                  <a:cubicBezTo>
                    <a:pt x="299" y="11"/>
                    <a:pt x="297" y="13"/>
                    <a:pt x="295" y="14"/>
                  </a:cubicBezTo>
                  <a:cubicBezTo>
                    <a:pt x="292" y="15"/>
                    <a:pt x="288" y="16"/>
                    <a:pt x="285" y="17"/>
                  </a:cubicBezTo>
                  <a:cubicBezTo>
                    <a:pt x="280" y="20"/>
                    <a:pt x="276" y="22"/>
                    <a:pt x="272" y="25"/>
                  </a:cubicBezTo>
                  <a:cubicBezTo>
                    <a:pt x="269" y="27"/>
                    <a:pt x="268" y="30"/>
                    <a:pt x="266" y="32"/>
                  </a:cubicBezTo>
                  <a:cubicBezTo>
                    <a:pt x="262" y="35"/>
                    <a:pt x="257" y="39"/>
                    <a:pt x="254" y="44"/>
                  </a:cubicBezTo>
                  <a:cubicBezTo>
                    <a:pt x="253" y="47"/>
                    <a:pt x="253" y="50"/>
                    <a:pt x="251" y="53"/>
                  </a:cubicBezTo>
                  <a:cubicBezTo>
                    <a:pt x="250" y="56"/>
                    <a:pt x="247" y="57"/>
                    <a:pt x="245" y="61"/>
                  </a:cubicBezTo>
                  <a:cubicBezTo>
                    <a:pt x="242" y="69"/>
                    <a:pt x="237" y="87"/>
                    <a:pt x="241" y="95"/>
                  </a:cubicBezTo>
                  <a:cubicBezTo>
                    <a:pt x="245" y="104"/>
                    <a:pt x="240" y="115"/>
                    <a:pt x="244" y="124"/>
                  </a:cubicBezTo>
                  <a:cubicBezTo>
                    <a:pt x="245" y="129"/>
                    <a:pt x="239" y="126"/>
                    <a:pt x="236" y="127"/>
                  </a:cubicBezTo>
                  <a:cubicBezTo>
                    <a:pt x="231" y="130"/>
                    <a:pt x="231" y="138"/>
                    <a:pt x="230" y="142"/>
                  </a:cubicBezTo>
                  <a:cubicBezTo>
                    <a:pt x="228" y="155"/>
                    <a:pt x="226" y="170"/>
                    <a:pt x="229" y="183"/>
                  </a:cubicBezTo>
                  <a:cubicBezTo>
                    <a:pt x="233" y="194"/>
                    <a:pt x="238" y="203"/>
                    <a:pt x="250" y="204"/>
                  </a:cubicBezTo>
                  <a:cubicBezTo>
                    <a:pt x="254" y="204"/>
                    <a:pt x="256" y="203"/>
                    <a:pt x="257" y="207"/>
                  </a:cubicBezTo>
                  <a:cubicBezTo>
                    <a:pt x="258" y="212"/>
                    <a:pt x="257" y="219"/>
                    <a:pt x="257" y="224"/>
                  </a:cubicBezTo>
                  <a:cubicBezTo>
                    <a:pt x="257" y="235"/>
                    <a:pt x="258" y="245"/>
                    <a:pt x="263" y="254"/>
                  </a:cubicBezTo>
                  <a:cubicBezTo>
                    <a:pt x="266" y="259"/>
                    <a:pt x="269" y="263"/>
                    <a:pt x="269" y="269"/>
                  </a:cubicBezTo>
                  <a:cubicBezTo>
                    <a:pt x="268" y="274"/>
                    <a:pt x="268" y="278"/>
                    <a:pt x="268" y="283"/>
                  </a:cubicBezTo>
                  <a:cubicBezTo>
                    <a:pt x="268" y="293"/>
                    <a:pt x="268" y="304"/>
                    <a:pt x="268" y="314"/>
                  </a:cubicBezTo>
                  <a:cubicBezTo>
                    <a:pt x="268" y="323"/>
                    <a:pt x="270" y="334"/>
                    <a:pt x="261" y="340"/>
                  </a:cubicBezTo>
                  <a:cubicBezTo>
                    <a:pt x="257" y="343"/>
                    <a:pt x="252" y="346"/>
                    <a:pt x="246" y="348"/>
                  </a:cubicBezTo>
                  <a:cubicBezTo>
                    <a:pt x="242" y="350"/>
                    <a:pt x="238" y="350"/>
                    <a:pt x="234" y="352"/>
                  </a:cubicBezTo>
                  <a:cubicBezTo>
                    <a:pt x="223" y="359"/>
                    <a:pt x="216" y="369"/>
                    <a:pt x="204" y="374"/>
                  </a:cubicBezTo>
                  <a:cubicBezTo>
                    <a:pt x="188" y="382"/>
                    <a:pt x="173" y="392"/>
                    <a:pt x="157" y="400"/>
                  </a:cubicBezTo>
                  <a:cubicBezTo>
                    <a:pt x="138" y="412"/>
                    <a:pt x="115" y="413"/>
                    <a:pt x="96" y="426"/>
                  </a:cubicBezTo>
                  <a:cubicBezTo>
                    <a:pt x="76" y="439"/>
                    <a:pt x="66" y="460"/>
                    <a:pt x="61" y="482"/>
                  </a:cubicBezTo>
                  <a:cubicBezTo>
                    <a:pt x="57" y="497"/>
                    <a:pt x="53" y="511"/>
                    <a:pt x="50" y="526"/>
                  </a:cubicBezTo>
                  <a:cubicBezTo>
                    <a:pt x="44" y="565"/>
                    <a:pt x="38" y="605"/>
                    <a:pt x="33" y="644"/>
                  </a:cubicBezTo>
                  <a:cubicBezTo>
                    <a:pt x="28" y="681"/>
                    <a:pt x="25" y="719"/>
                    <a:pt x="21" y="757"/>
                  </a:cubicBezTo>
                  <a:cubicBezTo>
                    <a:pt x="19" y="777"/>
                    <a:pt x="18" y="797"/>
                    <a:pt x="16" y="817"/>
                  </a:cubicBezTo>
                  <a:cubicBezTo>
                    <a:pt x="14" y="842"/>
                    <a:pt x="9" y="868"/>
                    <a:pt x="7" y="893"/>
                  </a:cubicBezTo>
                  <a:cubicBezTo>
                    <a:pt x="4" y="916"/>
                    <a:pt x="6" y="939"/>
                    <a:pt x="5" y="962"/>
                  </a:cubicBezTo>
                  <a:cubicBezTo>
                    <a:pt x="5" y="972"/>
                    <a:pt x="4" y="982"/>
                    <a:pt x="4" y="992"/>
                  </a:cubicBezTo>
                  <a:cubicBezTo>
                    <a:pt x="4" y="997"/>
                    <a:pt x="5" y="1002"/>
                    <a:pt x="4" y="1007"/>
                  </a:cubicBezTo>
                  <a:cubicBezTo>
                    <a:pt x="4" y="1016"/>
                    <a:pt x="2" y="1024"/>
                    <a:pt x="3" y="1032"/>
                  </a:cubicBezTo>
                  <a:cubicBezTo>
                    <a:pt x="3" y="1041"/>
                    <a:pt x="9" y="1051"/>
                    <a:pt x="7" y="1059"/>
                  </a:cubicBezTo>
                  <a:cubicBezTo>
                    <a:pt x="4" y="1069"/>
                    <a:pt x="8" y="1083"/>
                    <a:pt x="10" y="1094"/>
                  </a:cubicBezTo>
                  <a:cubicBezTo>
                    <a:pt x="12" y="1105"/>
                    <a:pt x="17" y="1115"/>
                    <a:pt x="8" y="1125"/>
                  </a:cubicBezTo>
                  <a:cubicBezTo>
                    <a:pt x="4" y="1129"/>
                    <a:pt x="3" y="1134"/>
                    <a:pt x="3" y="1140"/>
                  </a:cubicBezTo>
                  <a:cubicBezTo>
                    <a:pt x="3" y="1143"/>
                    <a:pt x="3" y="1146"/>
                    <a:pt x="3" y="1150"/>
                  </a:cubicBezTo>
                  <a:cubicBezTo>
                    <a:pt x="4" y="1153"/>
                    <a:pt x="8" y="1158"/>
                    <a:pt x="7" y="1161"/>
                  </a:cubicBezTo>
                  <a:cubicBezTo>
                    <a:pt x="5" y="1167"/>
                    <a:pt x="0" y="1172"/>
                    <a:pt x="4" y="1179"/>
                  </a:cubicBezTo>
                  <a:cubicBezTo>
                    <a:pt x="8" y="1185"/>
                    <a:pt x="14" y="1183"/>
                    <a:pt x="19" y="1186"/>
                  </a:cubicBezTo>
                  <a:cubicBezTo>
                    <a:pt x="22" y="1188"/>
                    <a:pt x="15" y="1195"/>
                    <a:pt x="14" y="1198"/>
                  </a:cubicBezTo>
                  <a:cubicBezTo>
                    <a:pt x="13" y="1204"/>
                    <a:pt x="14" y="1210"/>
                    <a:pt x="15" y="1215"/>
                  </a:cubicBezTo>
                  <a:cubicBezTo>
                    <a:pt x="16" y="1220"/>
                    <a:pt x="12" y="1220"/>
                    <a:pt x="12" y="1223"/>
                  </a:cubicBezTo>
                  <a:cubicBezTo>
                    <a:pt x="13" y="1227"/>
                    <a:pt x="16" y="1229"/>
                    <a:pt x="16" y="1233"/>
                  </a:cubicBezTo>
                  <a:cubicBezTo>
                    <a:pt x="17" y="1245"/>
                    <a:pt x="16" y="1256"/>
                    <a:pt x="14" y="1267"/>
                  </a:cubicBezTo>
                  <a:cubicBezTo>
                    <a:pt x="13" y="1275"/>
                    <a:pt x="20" y="1284"/>
                    <a:pt x="22" y="1291"/>
                  </a:cubicBezTo>
                  <a:cubicBezTo>
                    <a:pt x="26" y="1302"/>
                    <a:pt x="29" y="1313"/>
                    <a:pt x="34" y="1324"/>
                  </a:cubicBezTo>
                  <a:cubicBezTo>
                    <a:pt x="41" y="1343"/>
                    <a:pt x="57" y="1349"/>
                    <a:pt x="76" y="1355"/>
                  </a:cubicBezTo>
                  <a:cubicBezTo>
                    <a:pt x="80" y="1356"/>
                    <a:pt x="88" y="1359"/>
                    <a:pt x="92" y="1358"/>
                  </a:cubicBezTo>
                  <a:cubicBezTo>
                    <a:pt x="96" y="1357"/>
                    <a:pt x="98" y="1357"/>
                    <a:pt x="102" y="1358"/>
                  </a:cubicBezTo>
                  <a:cubicBezTo>
                    <a:pt x="109" y="1359"/>
                    <a:pt x="107" y="1373"/>
                    <a:pt x="108" y="1379"/>
                  </a:cubicBezTo>
                  <a:cubicBezTo>
                    <a:pt x="111" y="1404"/>
                    <a:pt x="115" y="1429"/>
                    <a:pt x="120" y="1453"/>
                  </a:cubicBezTo>
                  <a:cubicBezTo>
                    <a:pt x="124" y="1473"/>
                    <a:pt x="131" y="1492"/>
                    <a:pt x="135" y="1512"/>
                  </a:cubicBezTo>
                  <a:cubicBezTo>
                    <a:pt x="138" y="1532"/>
                    <a:pt x="139" y="1553"/>
                    <a:pt x="140" y="1573"/>
                  </a:cubicBezTo>
                  <a:cubicBezTo>
                    <a:pt x="143" y="1647"/>
                    <a:pt x="140" y="1720"/>
                    <a:pt x="145" y="1793"/>
                  </a:cubicBezTo>
                  <a:cubicBezTo>
                    <a:pt x="150" y="1860"/>
                    <a:pt x="153" y="1926"/>
                    <a:pt x="157" y="1992"/>
                  </a:cubicBezTo>
                  <a:cubicBezTo>
                    <a:pt x="158" y="2011"/>
                    <a:pt x="159" y="2029"/>
                    <a:pt x="159" y="2048"/>
                  </a:cubicBezTo>
                  <a:cubicBezTo>
                    <a:pt x="159" y="2053"/>
                    <a:pt x="160" y="2057"/>
                    <a:pt x="160" y="2062"/>
                  </a:cubicBezTo>
                  <a:cubicBezTo>
                    <a:pt x="160" y="2077"/>
                    <a:pt x="164" y="2090"/>
                    <a:pt x="167" y="2105"/>
                  </a:cubicBezTo>
                  <a:cubicBezTo>
                    <a:pt x="170" y="2114"/>
                    <a:pt x="165" y="2124"/>
                    <a:pt x="169" y="2133"/>
                  </a:cubicBezTo>
                  <a:cubicBezTo>
                    <a:pt x="171" y="2138"/>
                    <a:pt x="173" y="2140"/>
                    <a:pt x="173" y="2144"/>
                  </a:cubicBezTo>
                  <a:cubicBezTo>
                    <a:pt x="175" y="2162"/>
                    <a:pt x="176" y="2179"/>
                    <a:pt x="179" y="2196"/>
                  </a:cubicBezTo>
                  <a:cubicBezTo>
                    <a:pt x="180" y="2202"/>
                    <a:pt x="180" y="2210"/>
                    <a:pt x="184" y="2216"/>
                  </a:cubicBezTo>
                  <a:cubicBezTo>
                    <a:pt x="187" y="2221"/>
                    <a:pt x="192" y="2216"/>
                    <a:pt x="196" y="2217"/>
                  </a:cubicBezTo>
                  <a:cubicBezTo>
                    <a:pt x="205" y="2218"/>
                    <a:pt x="183" y="2238"/>
                    <a:pt x="183" y="2239"/>
                  </a:cubicBezTo>
                  <a:cubicBezTo>
                    <a:pt x="172" y="2249"/>
                    <a:pt x="165" y="2261"/>
                    <a:pt x="151" y="2268"/>
                  </a:cubicBezTo>
                  <a:cubicBezTo>
                    <a:pt x="142" y="2273"/>
                    <a:pt x="128" y="2275"/>
                    <a:pt x="124" y="2287"/>
                  </a:cubicBezTo>
                  <a:cubicBezTo>
                    <a:pt x="123" y="2291"/>
                    <a:pt x="125" y="2298"/>
                    <a:pt x="120" y="2301"/>
                  </a:cubicBezTo>
                  <a:cubicBezTo>
                    <a:pt x="117" y="2303"/>
                    <a:pt x="111" y="2303"/>
                    <a:pt x="111" y="2308"/>
                  </a:cubicBezTo>
                  <a:cubicBezTo>
                    <a:pt x="112" y="2315"/>
                    <a:pt x="117" y="2315"/>
                    <a:pt x="122" y="2316"/>
                  </a:cubicBezTo>
                  <a:cubicBezTo>
                    <a:pt x="128" y="2316"/>
                    <a:pt x="133" y="2318"/>
                    <a:pt x="138" y="2320"/>
                  </a:cubicBezTo>
                  <a:cubicBezTo>
                    <a:pt x="157" y="2323"/>
                    <a:pt x="177" y="2323"/>
                    <a:pt x="197" y="2323"/>
                  </a:cubicBezTo>
                  <a:cubicBezTo>
                    <a:pt x="215" y="2323"/>
                    <a:pt x="233" y="2322"/>
                    <a:pt x="251" y="2320"/>
                  </a:cubicBezTo>
                  <a:cubicBezTo>
                    <a:pt x="260" y="2320"/>
                    <a:pt x="271" y="2320"/>
                    <a:pt x="273" y="2309"/>
                  </a:cubicBezTo>
                  <a:cubicBezTo>
                    <a:pt x="275" y="2299"/>
                    <a:pt x="277" y="2294"/>
                    <a:pt x="287" y="2298"/>
                  </a:cubicBezTo>
                  <a:cubicBezTo>
                    <a:pt x="298" y="2302"/>
                    <a:pt x="305" y="2301"/>
                    <a:pt x="316" y="2298"/>
                  </a:cubicBezTo>
                  <a:cubicBezTo>
                    <a:pt x="323" y="2295"/>
                    <a:pt x="344" y="2293"/>
                    <a:pt x="343" y="2282"/>
                  </a:cubicBezTo>
                  <a:cubicBezTo>
                    <a:pt x="342" y="2275"/>
                    <a:pt x="342" y="2268"/>
                    <a:pt x="342" y="2262"/>
                  </a:cubicBezTo>
                  <a:cubicBezTo>
                    <a:pt x="342" y="2257"/>
                    <a:pt x="343" y="2250"/>
                    <a:pt x="341" y="2246"/>
                  </a:cubicBezTo>
                  <a:cubicBezTo>
                    <a:pt x="339" y="2243"/>
                    <a:pt x="335" y="2244"/>
                    <a:pt x="334" y="2243"/>
                  </a:cubicBezTo>
                  <a:cubicBezTo>
                    <a:pt x="332" y="2239"/>
                    <a:pt x="334" y="2230"/>
                    <a:pt x="334" y="2225"/>
                  </a:cubicBezTo>
                  <a:cubicBezTo>
                    <a:pt x="334" y="2221"/>
                    <a:pt x="334" y="2215"/>
                    <a:pt x="332" y="2211"/>
                  </a:cubicBezTo>
                  <a:cubicBezTo>
                    <a:pt x="330" y="2207"/>
                    <a:pt x="333" y="2204"/>
                    <a:pt x="335" y="2199"/>
                  </a:cubicBezTo>
                  <a:cubicBezTo>
                    <a:pt x="337" y="2194"/>
                    <a:pt x="335" y="2188"/>
                    <a:pt x="334" y="2183"/>
                  </a:cubicBezTo>
                  <a:cubicBezTo>
                    <a:pt x="333" y="2175"/>
                    <a:pt x="334" y="2167"/>
                    <a:pt x="333" y="2159"/>
                  </a:cubicBezTo>
                  <a:cubicBezTo>
                    <a:pt x="332" y="2142"/>
                    <a:pt x="331" y="2124"/>
                    <a:pt x="330" y="2106"/>
                  </a:cubicBezTo>
                  <a:cubicBezTo>
                    <a:pt x="328" y="2086"/>
                    <a:pt x="326" y="2067"/>
                    <a:pt x="324" y="2047"/>
                  </a:cubicBezTo>
                  <a:cubicBezTo>
                    <a:pt x="321" y="2027"/>
                    <a:pt x="323" y="2006"/>
                    <a:pt x="323" y="1985"/>
                  </a:cubicBezTo>
                  <a:cubicBezTo>
                    <a:pt x="322" y="1966"/>
                    <a:pt x="321" y="1947"/>
                    <a:pt x="319" y="1928"/>
                  </a:cubicBezTo>
                  <a:cubicBezTo>
                    <a:pt x="317" y="1902"/>
                    <a:pt x="318" y="1877"/>
                    <a:pt x="316" y="1852"/>
                  </a:cubicBezTo>
                  <a:cubicBezTo>
                    <a:pt x="313" y="1824"/>
                    <a:pt x="309" y="1796"/>
                    <a:pt x="298" y="1770"/>
                  </a:cubicBezTo>
                  <a:cubicBezTo>
                    <a:pt x="294" y="1759"/>
                    <a:pt x="290" y="1752"/>
                    <a:pt x="289" y="1740"/>
                  </a:cubicBezTo>
                  <a:cubicBezTo>
                    <a:pt x="288" y="1729"/>
                    <a:pt x="290" y="1718"/>
                    <a:pt x="289" y="1706"/>
                  </a:cubicBezTo>
                  <a:cubicBezTo>
                    <a:pt x="287" y="1683"/>
                    <a:pt x="283" y="1661"/>
                    <a:pt x="286" y="1638"/>
                  </a:cubicBezTo>
                  <a:cubicBezTo>
                    <a:pt x="289" y="1609"/>
                    <a:pt x="292" y="1580"/>
                    <a:pt x="296" y="1552"/>
                  </a:cubicBezTo>
                  <a:cubicBezTo>
                    <a:pt x="302" y="1520"/>
                    <a:pt x="305" y="1488"/>
                    <a:pt x="309" y="1456"/>
                  </a:cubicBezTo>
                  <a:cubicBezTo>
                    <a:pt x="312" y="1435"/>
                    <a:pt x="315" y="1415"/>
                    <a:pt x="319" y="1394"/>
                  </a:cubicBezTo>
                  <a:cubicBezTo>
                    <a:pt x="320" y="1384"/>
                    <a:pt x="318" y="1375"/>
                    <a:pt x="319" y="1365"/>
                  </a:cubicBezTo>
                  <a:cubicBezTo>
                    <a:pt x="320" y="1355"/>
                    <a:pt x="323" y="1345"/>
                    <a:pt x="322" y="1335"/>
                  </a:cubicBezTo>
                  <a:cubicBezTo>
                    <a:pt x="322" y="1326"/>
                    <a:pt x="322" y="1318"/>
                    <a:pt x="325" y="1309"/>
                  </a:cubicBezTo>
                  <a:cubicBezTo>
                    <a:pt x="327" y="1304"/>
                    <a:pt x="329" y="1292"/>
                    <a:pt x="332" y="1289"/>
                  </a:cubicBezTo>
                  <a:cubicBezTo>
                    <a:pt x="332" y="1290"/>
                    <a:pt x="336" y="1293"/>
                    <a:pt x="337" y="1293"/>
                  </a:cubicBezTo>
                  <a:cubicBezTo>
                    <a:pt x="341" y="1295"/>
                    <a:pt x="343" y="1295"/>
                    <a:pt x="344" y="1300"/>
                  </a:cubicBezTo>
                  <a:cubicBezTo>
                    <a:pt x="347" y="1311"/>
                    <a:pt x="349" y="1323"/>
                    <a:pt x="352" y="1334"/>
                  </a:cubicBezTo>
                  <a:cubicBezTo>
                    <a:pt x="357" y="1354"/>
                    <a:pt x="359" y="1375"/>
                    <a:pt x="361" y="1396"/>
                  </a:cubicBezTo>
                  <a:cubicBezTo>
                    <a:pt x="365" y="1433"/>
                    <a:pt x="372" y="1470"/>
                    <a:pt x="376" y="1507"/>
                  </a:cubicBezTo>
                  <a:cubicBezTo>
                    <a:pt x="378" y="1526"/>
                    <a:pt x="381" y="1544"/>
                    <a:pt x="384" y="1561"/>
                  </a:cubicBezTo>
                  <a:cubicBezTo>
                    <a:pt x="388" y="1578"/>
                    <a:pt x="390" y="1597"/>
                    <a:pt x="396" y="1613"/>
                  </a:cubicBezTo>
                  <a:cubicBezTo>
                    <a:pt x="404" y="1633"/>
                    <a:pt x="411" y="1652"/>
                    <a:pt x="415" y="1674"/>
                  </a:cubicBezTo>
                  <a:cubicBezTo>
                    <a:pt x="418" y="1695"/>
                    <a:pt x="422" y="1715"/>
                    <a:pt x="424" y="1736"/>
                  </a:cubicBezTo>
                  <a:cubicBezTo>
                    <a:pt x="429" y="1768"/>
                    <a:pt x="430" y="1800"/>
                    <a:pt x="433" y="1832"/>
                  </a:cubicBezTo>
                  <a:cubicBezTo>
                    <a:pt x="436" y="1867"/>
                    <a:pt x="440" y="1901"/>
                    <a:pt x="443" y="1936"/>
                  </a:cubicBezTo>
                  <a:cubicBezTo>
                    <a:pt x="447" y="1970"/>
                    <a:pt x="451" y="2004"/>
                    <a:pt x="455" y="2039"/>
                  </a:cubicBezTo>
                  <a:cubicBezTo>
                    <a:pt x="458" y="2067"/>
                    <a:pt x="457" y="2096"/>
                    <a:pt x="459" y="2124"/>
                  </a:cubicBezTo>
                  <a:cubicBezTo>
                    <a:pt x="460" y="2144"/>
                    <a:pt x="468" y="2163"/>
                    <a:pt x="471" y="2183"/>
                  </a:cubicBezTo>
                  <a:cubicBezTo>
                    <a:pt x="472" y="2192"/>
                    <a:pt x="471" y="2201"/>
                    <a:pt x="472" y="2210"/>
                  </a:cubicBezTo>
                  <a:cubicBezTo>
                    <a:pt x="472" y="2218"/>
                    <a:pt x="479" y="2223"/>
                    <a:pt x="478" y="2230"/>
                  </a:cubicBezTo>
                  <a:cubicBezTo>
                    <a:pt x="477" y="2234"/>
                    <a:pt x="478" y="2238"/>
                    <a:pt x="477" y="2243"/>
                  </a:cubicBezTo>
                  <a:cubicBezTo>
                    <a:pt x="477" y="2246"/>
                    <a:pt x="473" y="2245"/>
                    <a:pt x="471" y="2246"/>
                  </a:cubicBezTo>
                  <a:cubicBezTo>
                    <a:pt x="469" y="2248"/>
                    <a:pt x="469" y="2256"/>
                    <a:pt x="469" y="2259"/>
                  </a:cubicBezTo>
                  <a:cubicBezTo>
                    <a:pt x="468" y="2266"/>
                    <a:pt x="468" y="2274"/>
                    <a:pt x="468" y="2282"/>
                  </a:cubicBezTo>
                  <a:cubicBezTo>
                    <a:pt x="467" y="2289"/>
                    <a:pt x="468" y="2295"/>
                    <a:pt x="476" y="2298"/>
                  </a:cubicBezTo>
                  <a:cubicBezTo>
                    <a:pt x="480" y="2300"/>
                    <a:pt x="484" y="2303"/>
                    <a:pt x="489" y="2304"/>
                  </a:cubicBezTo>
                  <a:cubicBezTo>
                    <a:pt x="491" y="2305"/>
                    <a:pt x="497" y="2301"/>
                    <a:pt x="498" y="2302"/>
                  </a:cubicBezTo>
                  <a:cubicBezTo>
                    <a:pt x="501" y="2305"/>
                    <a:pt x="488" y="2317"/>
                    <a:pt x="497" y="2323"/>
                  </a:cubicBezTo>
                  <a:cubicBezTo>
                    <a:pt x="505" y="2329"/>
                    <a:pt x="519" y="2329"/>
                    <a:pt x="529" y="2330"/>
                  </a:cubicBezTo>
                  <a:cubicBezTo>
                    <a:pt x="550" y="2334"/>
                    <a:pt x="572" y="2335"/>
                    <a:pt x="594" y="2334"/>
                  </a:cubicBezTo>
                  <a:cubicBezTo>
                    <a:pt x="607" y="2333"/>
                    <a:pt x="620" y="2331"/>
                    <a:pt x="634" y="2331"/>
                  </a:cubicBezTo>
                  <a:cubicBezTo>
                    <a:pt x="645" y="2331"/>
                    <a:pt x="640" y="2319"/>
                    <a:pt x="634" y="2314"/>
                  </a:cubicBezTo>
                  <a:cubicBezTo>
                    <a:pt x="631" y="2312"/>
                    <a:pt x="630" y="2313"/>
                    <a:pt x="630" y="2309"/>
                  </a:cubicBezTo>
                  <a:cubicBezTo>
                    <a:pt x="630" y="2304"/>
                    <a:pt x="630" y="2298"/>
                    <a:pt x="629" y="2293"/>
                  </a:cubicBezTo>
                  <a:cubicBezTo>
                    <a:pt x="625" y="2283"/>
                    <a:pt x="615" y="2275"/>
                    <a:pt x="611" y="2265"/>
                  </a:cubicBezTo>
                  <a:cubicBezTo>
                    <a:pt x="606" y="2255"/>
                    <a:pt x="597" y="2249"/>
                    <a:pt x="594" y="2238"/>
                  </a:cubicBezTo>
                  <a:cubicBezTo>
                    <a:pt x="590" y="2228"/>
                    <a:pt x="591" y="2228"/>
                    <a:pt x="597" y="2219"/>
                  </a:cubicBezTo>
                  <a:cubicBezTo>
                    <a:pt x="604" y="2208"/>
                    <a:pt x="600" y="2196"/>
                    <a:pt x="598" y="2184"/>
                  </a:cubicBezTo>
                  <a:cubicBezTo>
                    <a:pt x="596" y="2174"/>
                    <a:pt x="595" y="2163"/>
                    <a:pt x="594" y="2152"/>
                  </a:cubicBezTo>
                  <a:cubicBezTo>
                    <a:pt x="592" y="2132"/>
                    <a:pt x="584" y="2106"/>
                    <a:pt x="593" y="2087"/>
                  </a:cubicBezTo>
                  <a:cubicBezTo>
                    <a:pt x="599" y="2074"/>
                    <a:pt x="597" y="2057"/>
                    <a:pt x="598" y="2043"/>
                  </a:cubicBezTo>
                  <a:cubicBezTo>
                    <a:pt x="598" y="2006"/>
                    <a:pt x="597" y="1969"/>
                    <a:pt x="596" y="1932"/>
                  </a:cubicBezTo>
                  <a:cubicBezTo>
                    <a:pt x="596" y="1891"/>
                    <a:pt x="595" y="1851"/>
                    <a:pt x="591" y="1810"/>
                  </a:cubicBezTo>
                  <a:cubicBezTo>
                    <a:pt x="590" y="1792"/>
                    <a:pt x="587" y="1773"/>
                    <a:pt x="586" y="1754"/>
                  </a:cubicBezTo>
                  <a:cubicBezTo>
                    <a:pt x="584" y="1732"/>
                    <a:pt x="585" y="1711"/>
                    <a:pt x="582" y="1689"/>
                  </a:cubicBezTo>
                  <a:cubicBezTo>
                    <a:pt x="579" y="1666"/>
                    <a:pt x="583" y="1642"/>
                    <a:pt x="584" y="1619"/>
                  </a:cubicBezTo>
                  <a:cubicBezTo>
                    <a:pt x="584" y="1586"/>
                    <a:pt x="589" y="1553"/>
                    <a:pt x="592" y="1520"/>
                  </a:cubicBezTo>
                  <a:cubicBezTo>
                    <a:pt x="596" y="1465"/>
                    <a:pt x="584" y="1412"/>
                    <a:pt x="584" y="1357"/>
                  </a:cubicBezTo>
                  <a:cubicBezTo>
                    <a:pt x="584" y="1352"/>
                    <a:pt x="583" y="1341"/>
                    <a:pt x="588" y="1338"/>
                  </a:cubicBezTo>
                  <a:cubicBezTo>
                    <a:pt x="592" y="1336"/>
                    <a:pt x="597" y="1335"/>
                    <a:pt x="601" y="1332"/>
                  </a:cubicBezTo>
                  <a:cubicBezTo>
                    <a:pt x="607" y="1329"/>
                    <a:pt x="615" y="1328"/>
                    <a:pt x="619" y="1324"/>
                  </a:cubicBezTo>
                  <a:cubicBezTo>
                    <a:pt x="622" y="1321"/>
                    <a:pt x="624" y="1319"/>
                    <a:pt x="629" y="1319"/>
                  </a:cubicBezTo>
                  <a:cubicBezTo>
                    <a:pt x="635" y="1318"/>
                    <a:pt x="636" y="1314"/>
                    <a:pt x="637" y="1309"/>
                  </a:cubicBezTo>
                  <a:cubicBezTo>
                    <a:pt x="639" y="1305"/>
                    <a:pt x="641" y="1304"/>
                    <a:pt x="645" y="1302"/>
                  </a:cubicBezTo>
                  <a:cubicBezTo>
                    <a:pt x="651" y="1300"/>
                    <a:pt x="652" y="1293"/>
                    <a:pt x="654" y="1288"/>
                  </a:cubicBezTo>
                  <a:cubicBezTo>
                    <a:pt x="656" y="1278"/>
                    <a:pt x="657" y="1268"/>
                    <a:pt x="660" y="1258"/>
                  </a:cubicBezTo>
                  <a:cubicBezTo>
                    <a:pt x="663" y="1247"/>
                    <a:pt x="661" y="1232"/>
                    <a:pt x="661" y="1220"/>
                  </a:cubicBezTo>
                  <a:cubicBezTo>
                    <a:pt x="661" y="1218"/>
                    <a:pt x="659" y="1207"/>
                    <a:pt x="661" y="1207"/>
                  </a:cubicBezTo>
                  <a:cubicBezTo>
                    <a:pt x="663" y="1207"/>
                    <a:pt x="666" y="1205"/>
                    <a:pt x="665" y="1203"/>
                  </a:cubicBezTo>
                  <a:cubicBezTo>
                    <a:pt x="665" y="1200"/>
                    <a:pt x="663" y="1199"/>
                    <a:pt x="663" y="1196"/>
                  </a:cubicBezTo>
                  <a:cubicBezTo>
                    <a:pt x="664" y="1189"/>
                    <a:pt x="667" y="1185"/>
                    <a:pt x="667" y="1178"/>
                  </a:cubicBezTo>
                  <a:cubicBezTo>
                    <a:pt x="666" y="1173"/>
                    <a:pt x="666" y="1167"/>
                    <a:pt x="663" y="1164"/>
                  </a:cubicBezTo>
                  <a:cubicBezTo>
                    <a:pt x="659" y="1158"/>
                    <a:pt x="664" y="1160"/>
                    <a:pt x="667" y="1156"/>
                  </a:cubicBezTo>
                  <a:cubicBezTo>
                    <a:pt x="671" y="1150"/>
                    <a:pt x="670" y="1138"/>
                    <a:pt x="668" y="1131"/>
                  </a:cubicBezTo>
                  <a:cubicBezTo>
                    <a:pt x="667" y="1127"/>
                    <a:pt x="665" y="1127"/>
                    <a:pt x="663" y="1123"/>
                  </a:cubicBezTo>
                  <a:cubicBezTo>
                    <a:pt x="661" y="1119"/>
                    <a:pt x="667" y="1112"/>
                    <a:pt x="669" y="1109"/>
                  </a:cubicBezTo>
                  <a:cubicBezTo>
                    <a:pt x="671" y="1103"/>
                    <a:pt x="673" y="1096"/>
                    <a:pt x="671" y="1089"/>
                  </a:cubicBezTo>
                  <a:cubicBezTo>
                    <a:pt x="670" y="1082"/>
                    <a:pt x="664" y="1076"/>
                    <a:pt x="667" y="1068"/>
                  </a:cubicBezTo>
                  <a:cubicBezTo>
                    <a:pt x="670" y="1062"/>
                    <a:pt x="674" y="1058"/>
                    <a:pt x="675" y="1052"/>
                  </a:cubicBezTo>
                  <a:cubicBezTo>
                    <a:pt x="676" y="1046"/>
                    <a:pt x="676" y="1041"/>
                    <a:pt x="676" y="1035"/>
                  </a:cubicBezTo>
                  <a:cubicBezTo>
                    <a:pt x="676" y="1022"/>
                    <a:pt x="680" y="1011"/>
                    <a:pt x="676" y="998"/>
                  </a:cubicBezTo>
                  <a:moveTo>
                    <a:pt x="95" y="1318"/>
                  </a:moveTo>
                  <a:cubicBezTo>
                    <a:pt x="91" y="1319"/>
                    <a:pt x="87" y="1323"/>
                    <a:pt x="86" y="1318"/>
                  </a:cubicBezTo>
                  <a:cubicBezTo>
                    <a:pt x="85" y="1310"/>
                    <a:pt x="85" y="1301"/>
                    <a:pt x="82" y="1294"/>
                  </a:cubicBezTo>
                  <a:cubicBezTo>
                    <a:pt x="80" y="1292"/>
                    <a:pt x="82" y="1291"/>
                    <a:pt x="83" y="1290"/>
                  </a:cubicBezTo>
                  <a:cubicBezTo>
                    <a:pt x="84" y="1286"/>
                    <a:pt x="81" y="1281"/>
                    <a:pt x="81" y="1278"/>
                  </a:cubicBezTo>
                  <a:cubicBezTo>
                    <a:pt x="80" y="1272"/>
                    <a:pt x="79" y="1266"/>
                    <a:pt x="86" y="1265"/>
                  </a:cubicBezTo>
                  <a:cubicBezTo>
                    <a:pt x="87" y="1265"/>
                    <a:pt x="94" y="1260"/>
                    <a:pt x="95" y="1262"/>
                  </a:cubicBezTo>
                  <a:cubicBezTo>
                    <a:pt x="98" y="1267"/>
                    <a:pt x="96" y="1278"/>
                    <a:pt x="96" y="1283"/>
                  </a:cubicBezTo>
                  <a:cubicBezTo>
                    <a:pt x="97" y="1291"/>
                    <a:pt x="97" y="1299"/>
                    <a:pt x="98" y="1307"/>
                  </a:cubicBezTo>
                  <a:cubicBezTo>
                    <a:pt x="99" y="1313"/>
                    <a:pt x="102" y="1316"/>
                    <a:pt x="95" y="1318"/>
                  </a:cubicBezTo>
                  <a:moveTo>
                    <a:pt x="146" y="764"/>
                  </a:moveTo>
                  <a:cubicBezTo>
                    <a:pt x="146" y="772"/>
                    <a:pt x="143" y="781"/>
                    <a:pt x="142" y="790"/>
                  </a:cubicBezTo>
                  <a:cubicBezTo>
                    <a:pt x="141" y="800"/>
                    <a:pt x="143" y="810"/>
                    <a:pt x="145" y="821"/>
                  </a:cubicBezTo>
                  <a:cubicBezTo>
                    <a:pt x="146" y="828"/>
                    <a:pt x="147" y="836"/>
                    <a:pt x="145" y="844"/>
                  </a:cubicBezTo>
                  <a:cubicBezTo>
                    <a:pt x="144" y="853"/>
                    <a:pt x="140" y="862"/>
                    <a:pt x="139" y="872"/>
                  </a:cubicBezTo>
                  <a:cubicBezTo>
                    <a:pt x="139" y="882"/>
                    <a:pt x="139" y="893"/>
                    <a:pt x="138" y="904"/>
                  </a:cubicBezTo>
                  <a:cubicBezTo>
                    <a:pt x="137" y="913"/>
                    <a:pt x="134" y="922"/>
                    <a:pt x="135" y="931"/>
                  </a:cubicBezTo>
                  <a:cubicBezTo>
                    <a:pt x="135" y="940"/>
                    <a:pt x="142" y="948"/>
                    <a:pt x="139" y="958"/>
                  </a:cubicBezTo>
                  <a:cubicBezTo>
                    <a:pt x="137" y="969"/>
                    <a:pt x="131" y="980"/>
                    <a:pt x="128" y="991"/>
                  </a:cubicBezTo>
                  <a:cubicBezTo>
                    <a:pt x="125" y="999"/>
                    <a:pt x="123" y="1007"/>
                    <a:pt x="122" y="1016"/>
                  </a:cubicBezTo>
                  <a:cubicBezTo>
                    <a:pt x="120" y="1023"/>
                    <a:pt x="116" y="1029"/>
                    <a:pt x="114" y="1036"/>
                  </a:cubicBezTo>
                  <a:cubicBezTo>
                    <a:pt x="110" y="1050"/>
                    <a:pt x="108" y="1065"/>
                    <a:pt x="106" y="1080"/>
                  </a:cubicBezTo>
                  <a:cubicBezTo>
                    <a:pt x="104" y="1087"/>
                    <a:pt x="96" y="1090"/>
                    <a:pt x="104" y="1095"/>
                  </a:cubicBezTo>
                  <a:cubicBezTo>
                    <a:pt x="108" y="1099"/>
                    <a:pt x="104" y="1113"/>
                    <a:pt x="103" y="1118"/>
                  </a:cubicBezTo>
                  <a:cubicBezTo>
                    <a:pt x="103" y="1120"/>
                    <a:pt x="101" y="1141"/>
                    <a:pt x="99" y="1142"/>
                  </a:cubicBezTo>
                  <a:cubicBezTo>
                    <a:pt x="96" y="1142"/>
                    <a:pt x="91" y="1128"/>
                    <a:pt x="91" y="1125"/>
                  </a:cubicBezTo>
                  <a:cubicBezTo>
                    <a:pt x="91" y="1119"/>
                    <a:pt x="92" y="1114"/>
                    <a:pt x="93" y="1108"/>
                  </a:cubicBezTo>
                  <a:cubicBezTo>
                    <a:pt x="93" y="1104"/>
                    <a:pt x="91" y="1099"/>
                    <a:pt x="92" y="1095"/>
                  </a:cubicBezTo>
                  <a:cubicBezTo>
                    <a:pt x="98" y="1080"/>
                    <a:pt x="100" y="1065"/>
                    <a:pt x="104" y="1050"/>
                  </a:cubicBezTo>
                  <a:cubicBezTo>
                    <a:pt x="106" y="1042"/>
                    <a:pt x="108" y="1034"/>
                    <a:pt x="110" y="1026"/>
                  </a:cubicBezTo>
                  <a:cubicBezTo>
                    <a:pt x="112" y="1018"/>
                    <a:pt x="118" y="1008"/>
                    <a:pt x="117" y="1000"/>
                  </a:cubicBezTo>
                  <a:cubicBezTo>
                    <a:pt x="117" y="994"/>
                    <a:pt x="115" y="988"/>
                    <a:pt x="117" y="982"/>
                  </a:cubicBezTo>
                  <a:cubicBezTo>
                    <a:pt x="118" y="977"/>
                    <a:pt x="120" y="973"/>
                    <a:pt x="121" y="969"/>
                  </a:cubicBezTo>
                  <a:cubicBezTo>
                    <a:pt x="123" y="958"/>
                    <a:pt x="122" y="947"/>
                    <a:pt x="124" y="936"/>
                  </a:cubicBezTo>
                  <a:cubicBezTo>
                    <a:pt x="126" y="924"/>
                    <a:pt x="130" y="918"/>
                    <a:pt x="126" y="906"/>
                  </a:cubicBezTo>
                  <a:cubicBezTo>
                    <a:pt x="124" y="897"/>
                    <a:pt x="129" y="888"/>
                    <a:pt x="132" y="879"/>
                  </a:cubicBezTo>
                  <a:cubicBezTo>
                    <a:pt x="135" y="868"/>
                    <a:pt x="133" y="860"/>
                    <a:pt x="133" y="849"/>
                  </a:cubicBezTo>
                  <a:cubicBezTo>
                    <a:pt x="132" y="842"/>
                    <a:pt x="129" y="832"/>
                    <a:pt x="131" y="825"/>
                  </a:cubicBezTo>
                  <a:cubicBezTo>
                    <a:pt x="137" y="805"/>
                    <a:pt x="133" y="784"/>
                    <a:pt x="137" y="764"/>
                  </a:cubicBezTo>
                  <a:cubicBezTo>
                    <a:pt x="140" y="753"/>
                    <a:pt x="142" y="743"/>
                    <a:pt x="144" y="733"/>
                  </a:cubicBezTo>
                  <a:cubicBezTo>
                    <a:pt x="144" y="731"/>
                    <a:pt x="145" y="722"/>
                    <a:pt x="147" y="720"/>
                  </a:cubicBezTo>
                  <a:cubicBezTo>
                    <a:pt x="147" y="721"/>
                    <a:pt x="147" y="731"/>
                    <a:pt x="147" y="732"/>
                  </a:cubicBezTo>
                  <a:cubicBezTo>
                    <a:pt x="147" y="736"/>
                    <a:pt x="148" y="738"/>
                    <a:pt x="148" y="742"/>
                  </a:cubicBezTo>
                  <a:cubicBezTo>
                    <a:pt x="150" y="749"/>
                    <a:pt x="147" y="756"/>
                    <a:pt x="146" y="764"/>
                  </a:cubicBezTo>
                  <a:moveTo>
                    <a:pt x="565" y="1169"/>
                  </a:moveTo>
                  <a:cubicBezTo>
                    <a:pt x="567" y="1152"/>
                    <a:pt x="564" y="1133"/>
                    <a:pt x="562" y="1116"/>
                  </a:cubicBezTo>
                  <a:cubicBezTo>
                    <a:pt x="561" y="1109"/>
                    <a:pt x="557" y="1103"/>
                    <a:pt x="563" y="1097"/>
                  </a:cubicBezTo>
                  <a:cubicBezTo>
                    <a:pt x="565" y="1095"/>
                    <a:pt x="571" y="1093"/>
                    <a:pt x="567" y="1088"/>
                  </a:cubicBezTo>
                  <a:cubicBezTo>
                    <a:pt x="564" y="1085"/>
                    <a:pt x="562" y="1087"/>
                    <a:pt x="561" y="1083"/>
                  </a:cubicBezTo>
                  <a:cubicBezTo>
                    <a:pt x="555" y="1062"/>
                    <a:pt x="549" y="1042"/>
                    <a:pt x="546" y="1020"/>
                  </a:cubicBezTo>
                  <a:cubicBezTo>
                    <a:pt x="543" y="994"/>
                    <a:pt x="534" y="969"/>
                    <a:pt x="535" y="943"/>
                  </a:cubicBezTo>
                  <a:cubicBezTo>
                    <a:pt x="535" y="924"/>
                    <a:pt x="533" y="904"/>
                    <a:pt x="533" y="885"/>
                  </a:cubicBezTo>
                  <a:cubicBezTo>
                    <a:pt x="533" y="863"/>
                    <a:pt x="534" y="840"/>
                    <a:pt x="534" y="817"/>
                  </a:cubicBezTo>
                  <a:cubicBezTo>
                    <a:pt x="534" y="797"/>
                    <a:pt x="533" y="778"/>
                    <a:pt x="534" y="758"/>
                  </a:cubicBezTo>
                  <a:cubicBezTo>
                    <a:pt x="534" y="750"/>
                    <a:pt x="534" y="741"/>
                    <a:pt x="535" y="733"/>
                  </a:cubicBezTo>
                  <a:cubicBezTo>
                    <a:pt x="536" y="728"/>
                    <a:pt x="537" y="722"/>
                    <a:pt x="537" y="717"/>
                  </a:cubicBezTo>
                  <a:cubicBezTo>
                    <a:pt x="537" y="715"/>
                    <a:pt x="537" y="710"/>
                    <a:pt x="538" y="709"/>
                  </a:cubicBezTo>
                  <a:cubicBezTo>
                    <a:pt x="537" y="710"/>
                    <a:pt x="545" y="727"/>
                    <a:pt x="546" y="729"/>
                  </a:cubicBezTo>
                  <a:cubicBezTo>
                    <a:pt x="549" y="739"/>
                    <a:pt x="549" y="749"/>
                    <a:pt x="550" y="760"/>
                  </a:cubicBezTo>
                  <a:cubicBezTo>
                    <a:pt x="550" y="769"/>
                    <a:pt x="551" y="778"/>
                    <a:pt x="553" y="787"/>
                  </a:cubicBezTo>
                  <a:cubicBezTo>
                    <a:pt x="555" y="799"/>
                    <a:pt x="553" y="810"/>
                    <a:pt x="555" y="822"/>
                  </a:cubicBezTo>
                  <a:cubicBezTo>
                    <a:pt x="556" y="836"/>
                    <a:pt x="554" y="848"/>
                    <a:pt x="554" y="862"/>
                  </a:cubicBezTo>
                  <a:cubicBezTo>
                    <a:pt x="553" y="874"/>
                    <a:pt x="555" y="887"/>
                    <a:pt x="557" y="899"/>
                  </a:cubicBezTo>
                  <a:cubicBezTo>
                    <a:pt x="558" y="908"/>
                    <a:pt x="559" y="916"/>
                    <a:pt x="562" y="925"/>
                  </a:cubicBezTo>
                  <a:cubicBezTo>
                    <a:pt x="566" y="936"/>
                    <a:pt x="565" y="952"/>
                    <a:pt x="566" y="964"/>
                  </a:cubicBezTo>
                  <a:cubicBezTo>
                    <a:pt x="566" y="978"/>
                    <a:pt x="572" y="989"/>
                    <a:pt x="573" y="1003"/>
                  </a:cubicBezTo>
                  <a:cubicBezTo>
                    <a:pt x="575" y="1015"/>
                    <a:pt x="575" y="1027"/>
                    <a:pt x="577" y="1038"/>
                  </a:cubicBezTo>
                  <a:cubicBezTo>
                    <a:pt x="579" y="1047"/>
                    <a:pt x="577" y="1053"/>
                    <a:pt x="575" y="1062"/>
                  </a:cubicBezTo>
                  <a:cubicBezTo>
                    <a:pt x="574" y="1072"/>
                    <a:pt x="580" y="1081"/>
                    <a:pt x="578" y="1090"/>
                  </a:cubicBezTo>
                  <a:cubicBezTo>
                    <a:pt x="578" y="1097"/>
                    <a:pt x="576" y="1103"/>
                    <a:pt x="576" y="1109"/>
                  </a:cubicBezTo>
                  <a:cubicBezTo>
                    <a:pt x="576" y="1115"/>
                    <a:pt x="578" y="1122"/>
                    <a:pt x="576" y="1127"/>
                  </a:cubicBezTo>
                  <a:cubicBezTo>
                    <a:pt x="574" y="1134"/>
                    <a:pt x="574" y="1136"/>
                    <a:pt x="578" y="1142"/>
                  </a:cubicBezTo>
                  <a:cubicBezTo>
                    <a:pt x="580" y="1144"/>
                    <a:pt x="584" y="1147"/>
                    <a:pt x="583" y="1150"/>
                  </a:cubicBezTo>
                  <a:cubicBezTo>
                    <a:pt x="582" y="1154"/>
                    <a:pt x="580" y="1158"/>
                    <a:pt x="578" y="1161"/>
                  </a:cubicBezTo>
                  <a:cubicBezTo>
                    <a:pt x="577" y="1163"/>
                    <a:pt x="571" y="1167"/>
                    <a:pt x="571" y="1167"/>
                  </a:cubicBezTo>
                  <a:cubicBezTo>
                    <a:pt x="571" y="1171"/>
                    <a:pt x="572" y="1173"/>
                    <a:pt x="568" y="1177"/>
                  </a:cubicBezTo>
                  <a:cubicBezTo>
                    <a:pt x="564" y="1180"/>
                    <a:pt x="565" y="1171"/>
                    <a:pt x="565" y="1169"/>
                  </a:cubicBezTo>
                  <a:moveTo>
                    <a:pt x="584" y="1252"/>
                  </a:moveTo>
                  <a:cubicBezTo>
                    <a:pt x="580" y="1259"/>
                    <a:pt x="583" y="1265"/>
                    <a:pt x="583" y="1271"/>
                  </a:cubicBezTo>
                  <a:cubicBezTo>
                    <a:pt x="583" y="1273"/>
                    <a:pt x="578" y="1289"/>
                    <a:pt x="579" y="1290"/>
                  </a:cubicBezTo>
                  <a:cubicBezTo>
                    <a:pt x="576" y="1288"/>
                    <a:pt x="576" y="1279"/>
                    <a:pt x="575" y="1276"/>
                  </a:cubicBezTo>
                  <a:cubicBezTo>
                    <a:pt x="574" y="1271"/>
                    <a:pt x="572" y="1266"/>
                    <a:pt x="572" y="1261"/>
                  </a:cubicBezTo>
                  <a:cubicBezTo>
                    <a:pt x="571" y="1257"/>
                    <a:pt x="569" y="1244"/>
                    <a:pt x="575" y="1242"/>
                  </a:cubicBezTo>
                  <a:cubicBezTo>
                    <a:pt x="577" y="1241"/>
                    <a:pt x="585" y="1249"/>
                    <a:pt x="584" y="1252"/>
                  </a:cubicBezTo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428085" tIns="214043" rIns="428085" bIns="214043" numCol="1" anchor="t" anchorCtr="0" compatLnSpc="1">
              <a:prstTxWarp prst="textNoShape">
                <a:avLst/>
              </a:prstTxWarp>
            </a:bodyPr>
            <a:lstStyle/>
            <a:p>
              <a:pPr defTabSz="428085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554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135" name="Gruppieren 281">
              <a:extLst>
                <a:ext uri="{FF2B5EF4-FFF2-40B4-BE49-F238E27FC236}">
                  <a16:creationId xmlns:a16="http://schemas.microsoft.com/office/drawing/2014/main" id="{26976AD5-0A52-416C-B788-EE61BC421CA4}"/>
                </a:ext>
              </a:extLst>
            </p:cNvPr>
            <p:cNvGrpSpPr/>
            <p:nvPr/>
          </p:nvGrpSpPr>
          <p:grpSpPr>
            <a:xfrm>
              <a:off x="2413040" y="758012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136" name="Freeform 156">
                <a:extLst>
                  <a:ext uri="{FF2B5EF4-FFF2-40B4-BE49-F238E27FC236}">
                    <a16:creationId xmlns:a16="http://schemas.microsoft.com/office/drawing/2014/main" id="{A0A12A24-F2F2-4DF1-8B0C-0E50EF0153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7" name="Freeform 159">
                <a:extLst>
                  <a:ext uri="{FF2B5EF4-FFF2-40B4-BE49-F238E27FC236}">
                    <a16:creationId xmlns:a16="http://schemas.microsoft.com/office/drawing/2014/main" id="{2B3C94F3-C0EC-4400-97FE-170A1A1DDE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8" name="Freeform 160">
                <a:extLst>
                  <a:ext uri="{FF2B5EF4-FFF2-40B4-BE49-F238E27FC236}">
                    <a16:creationId xmlns:a16="http://schemas.microsoft.com/office/drawing/2014/main" id="{777560C3-E733-4CC0-826A-2CA7622643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9" name="Freeform 179">
                <a:extLst>
                  <a:ext uri="{FF2B5EF4-FFF2-40B4-BE49-F238E27FC236}">
                    <a16:creationId xmlns:a16="http://schemas.microsoft.com/office/drawing/2014/main" id="{B8FD6AD7-4057-452E-B62F-AB26D20A23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0" name="Freeform 180">
                <a:extLst>
                  <a:ext uri="{FF2B5EF4-FFF2-40B4-BE49-F238E27FC236}">
                    <a16:creationId xmlns:a16="http://schemas.microsoft.com/office/drawing/2014/main" id="{8D6F1CB0-A6AB-456B-9012-A2090074C2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1" name="Freeform 181">
                <a:extLst>
                  <a:ext uri="{FF2B5EF4-FFF2-40B4-BE49-F238E27FC236}">
                    <a16:creationId xmlns:a16="http://schemas.microsoft.com/office/drawing/2014/main" id="{F3336BB2-236A-4F9B-B9B4-DCE274559D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2" name="Freeform 182">
                <a:extLst>
                  <a:ext uri="{FF2B5EF4-FFF2-40B4-BE49-F238E27FC236}">
                    <a16:creationId xmlns:a16="http://schemas.microsoft.com/office/drawing/2014/main" id="{44D56A6E-5B65-4338-BEAD-3112020EFA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3" name="Freeform 183">
                <a:extLst>
                  <a:ext uri="{FF2B5EF4-FFF2-40B4-BE49-F238E27FC236}">
                    <a16:creationId xmlns:a16="http://schemas.microsoft.com/office/drawing/2014/main" id="{8BA7D4E5-0E4E-4A88-8384-80FEA3A389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4" name="Freeform 184">
                <a:extLst>
                  <a:ext uri="{FF2B5EF4-FFF2-40B4-BE49-F238E27FC236}">
                    <a16:creationId xmlns:a16="http://schemas.microsoft.com/office/drawing/2014/main" id="{934F32AE-F68E-43F6-9B04-82D9987F72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5" name="Freeform 185">
                <a:extLst>
                  <a:ext uri="{FF2B5EF4-FFF2-40B4-BE49-F238E27FC236}">
                    <a16:creationId xmlns:a16="http://schemas.microsoft.com/office/drawing/2014/main" id="{ABCB4C03-CA10-490F-97F4-3C1F538170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6" name="Freeform 186">
                <a:extLst>
                  <a:ext uri="{FF2B5EF4-FFF2-40B4-BE49-F238E27FC236}">
                    <a16:creationId xmlns:a16="http://schemas.microsoft.com/office/drawing/2014/main" id="{30875601-CC43-4E47-8FF6-12A79FFEA7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7" name="Freeform 187">
                <a:extLst>
                  <a:ext uri="{FF2B5EF4-FFF2-40B4-BE49-F238E27FC236}">
                    <a16:creationId xmlns:a16="http://schemas.microsoft.com/office/drawing/2014/main" id="{B9911FC6-7031-467A-AB4D-56E1DE7086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8" name="Freeform 157">
                <a:extLst>
                  <a:ext uri="{FF2B5EF4-FFF2-40B4-BE49-F238E27FC236}">
                    <a16:creationId xmlns:a16="http://schemas.microsoft.com/office/drawing/2014/main" id="{A8CB21DC-1A4B-4C03-A3F6-136B387465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9" name="Freeform 158">
                <a:extLst>
                  <a:ext uri="{FF2B5EF4-FFF2-40B4-BE49-F238E27FC236}">
                    <a16:creationId xmlns:a16="http://schemas.microsoft.com/office/drawing/2014/main" id="{CD31D654-D3C7-4F82-A7A3-5F428EF8DB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50" name="Freeform 161">
                <a:extLst>
                  <a:ext uri="{FF2B5EF4-FFF2-40B4-BE49-F238E27FC236}">
                    <a16:creationId xmlns:a16="http://schemas.microsoft.com/office/drawing/2014/main" id="{9F2FEEE0-24B7-4B0C-A7FE-D3B19871E1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51" name="Freeform 162">
                <a:extLst>
                  <a:ext uri="{FF2B5EF4-FFF2-40B4-BE49-F238E27FC236}">
                    <a16:creationId xmlns:a16="http://schemas.microsoft.com/office/drawing/2014/main" id="{74BC2839-DC29-48AA-AC51-8031763478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52" name="Freeform 163">
                <a:extLst>
                  <a:ext uri="{FF2B5EF4-FFF2-40B4-BE49-F238E27FC236}">
                    <a16:creationId xmlns:a16="http://schemas.microsoft.com/office/drawing/2014/main" id="{390C43A6-502D-42D1-9E28-290BBED551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53" name="Freeform 164">
                <a:extLst>
                  <a:ext uri="{FF2B5EF4-FFF2-40B4-BE49-F238E27FC236}">
                    <a16:creationId xmlns:a16="http://schemas.microsoft.com/office/drawing/2014/main" id="{1B0D3C7F-AA5B-4FFE-A198-636F037107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54" name="Freeform 165">
                <a:extLst>
                  <a:ext uri="{FF2B5EF4-FFF2-40B4-BE49-F238E27FC236}">
                    <a16:creationId xmlns:a16="http://schemas.microsoft.com/office/drawing/2014/main" id="{93E6447E-D692-496B-82D8-0E7B8458B0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55" name="Freeform 166">
                <a:extLst>
                  <a:ext uri="{FF2B5EF4-FFF2-40B4-BE49-F238E27FC236}">
                    <a16:creationId xmlns:a16="http://schemas.microsoft.com/office/drawing/2014/main" id="{B64AA917-8CA4-4624-9C2B-2D87D19A23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56" name="Freeform 167">
                <a:extLst>
                  <a:ext uri="{FF2B5EF4-FFF2-40B4-BE49-F238E27FC236}">
                    <a16:creationId xmlns:a16="http://schemas.microsoft.com/office/drawing/2014/main" id="{DF64C706-8EDB-4A7C-9D22-76D5A319A2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57" name="Freeform 168">
                <a:extLst>
                  <a:ext uri="{FF2B5EF4-FFF2-40B4-BE49-F238E27FC236}">
                    <a16:creationId xmlns:a16="http://schemas.microsoft.com/office/drawing/2014/main" id="{CC9A0BCB-0294-42B5-A131-8CEED322E7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58" name="Freeform 169">
                <a:extLst>
                  <a:ext uri="{FF2B5EF4-FFF2-40B4-BE49-F238E27FC236}">
                    <a16:creationId xmlns:a16="http://schemas.microsoft.com/office/drawing/2014/main" id="{CF7731B9-811B-4219-AAD2-B26A136959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59" name="Freeform 170">
                <a:extLst>
                  <a:ext uri="{FF2B5EF4-FFF2-40B4-BE49-F238E27FC236}">
                    <a16:creationId xmlns:a16="http://schemas.microsoft.com/office/drawing/2014/main" id="{667B92D4-F400-4034-A292-0A949B7A1F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60" name="Freeform 171">
                <a:extLst>
                  <a:ext uri="{FF2B5EF4-FFF2-40B4-BE49-F238E27FC236}">
                    <a16:creationId xmlns:a16="http://schemas.microsoft.com/office/drawing/2014/main" id="{6CC2A7EF-64E8-4EAC-BCFB-D2B8CBA6D0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61" name="Freeform 172">
                <a:extLst>
                  <a:ext uri="{FF2B5EF4-FFF2-40B4-BE49-F238E27FC236}">
                    <a16:creationId xmlns:a16="http://schemas.microsoft.com/office/drawing/2014/main" id="{C569A4DD-2501-4A98-A694-4F11B4E7A3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62" name="Freeform 173">
                <a:extLst>
                  <a:ext uri="{FF2B5EF4-FFF2-40B4-BE49-F238E27FC236}">
                    <a16:creationId xmlns:a16="http://schemas.microsoft.com/office/drawing/2014/main" id="{7C0DA296-8157-460E-A3EA-2635B35C5B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63" name="Freeform 174">
                <a:extLst>
                  <a:ext uri="{FF2B5EF4-FFF2-40B4-BE49-F238E27FC236}">
                    <a16:creationId xmlns:a16="http://schemas.microsoft.com/office/drawing/2014/main" id="{A92977C8-A85C-4E2A-8F6E-10DE175F44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64" name="Freeform 175">
                <a:extLst>
                  <a:ext uri="{FF2B5EF4-FFF2-40B4-BE49-F238E27FC236}">
                    <a16:creationId xmlns:a16="http://schemas.microsoft.com/office/drawing/2014/main" id="{AF6F3EFD-21E1-4F10-B9E9-D0FB692E5F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65" name="Freeform 176">
                <a:extLst>
                  <a:ext uri="{FF2B5EF4-FFF2-40B4-BE49-F238E27FC236}">
                    <a16:creationId xmlns:a16="http://schemas.microsoft.com/office/drawing/2014/main" id="{3B8E8B7A-82DB-4AC9-8969-84C3F43F5A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66" name="Freeform 177">
                <a:extLst>
                  <a:ext uri="{FF2B5EF4-FFF2-40B4-BE49-F238E27FC236}">
                    <a16:creationId xmlns:a16="http://schemas.microsoft.com/office/drawing/2014/main" id="{8DAE8107-7165-4AB4-B31D-5813B94F08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67" name="Freeform 178">
                <a:extLst>
                  <a:ext uri="{FF2B5EF4-FFF2-40B4-BE49-F238E27FC236}">
                    <a16:creationId xmlns:a16="http://schemas.microsoft.com/office/drawing/2014/main" id="{F16544E3-023C-4B5F-84C9-0FCB240A4C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68" name="Freeform 188">
                <a:extLst>
                  <a:ext uri="{FF2B5EF4-FFF2-40B4-BE49-F238E27FC236}">
                    <a16:creationId xmlns:a16="http://schemas.microsoft.com/office/drawing/2014/main" id="{09739338-8E6C-4C61-82E4-E99669CFF1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69" name="Freeform 103">
                <a:extLst>
                  <a:ext uri="{FF2B5EF4-FFF2-40B4-BE49-F238E27FC236}">
                    <a16:creationId xmlns:a16="http://schemas.microsoft.com/office/drawing/2014/main" id="{D082507A-B28E-4969-8828-6EED0B0B6F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70" name="Freeform 104">
                <a:extLst>
                  <a:ext uri="{FF2B5EF4-FFF2-40B4-BE49-F238E27FC236}">
                    <a16:creationId xmlns:a16="http://schemas.microsoft.com/office/drawing/2014/main" id="{4107900F-B375-4354-8E7C-CDA610B54252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61329729-AD40-4529-BB32-A556048AC575}"/>
              </a:ext>
            </a:extLst>
          </p:cNvPr>
          <p:cNvGrpSpPr/>
          <p:nvPr/>
        </p:nvGrpSpPr>
        <p:grpSpPr>
          <a:xfrm>
            <a:off x="4024460" y="21794821"/>
            <a:ext cx="2814759" cy="2596601"/>
            <a:chOff x="2335614" y="3820290"/>
            <a:chExt cx="653239" cy="560864"/>
          </a:xfrm>
        </p:grpSpPr>
        <p:sp>
          <p:nvSpPr>
            <p:cNvPr id="358" name="Ellipse 357">
              <a:extLst>
                <a:ext uri="{FF2B5EF4-FFF2-40B4-BE49-F238E27FC236}">
                  <a16:creationId xmlns:a16="http://schemas.microsoft.com/office/drawing/2014/main" id="{72993732-F280-4BF5-A6F1-C2D6A0F4C499}"/>
                </a:ext>
              </a:extLst>
            </p:cNvPr>
            <p:cNvSpPr/>
            <p:nvPr/>
          </p:nvSpPr>
          <p:spPr bwMode="auto">
            <a:xfrm>
              <a:off x="2335614" y="3917291"/>
              <a:ext cx="653239" cy="463863"/>
            </a:xfrm>
            <a:prstGeom prst="ellipse">
              <a:avLst/>
            </a:prstGeom>
            <a:solidFill>
              <a:srgbClr val="FFC000"/>
            </a:solidFill>
            <a:ln w="76200">
              <a:noFill/>
              <a:round/>
              <a:headEnd/>
              <a:tailEnd/>
            </a:ln>
            <a:effectLst>
              <a:outerShdw blurRad="419100" dist="38100" dir="5400000" sx="107000" sy="107000" algn="t" rotWithShape="0">
                <a:prstClr val="black">
                  <a:alpha val="34000"/>
                </a:prstClr>
              </a:outerShdw>
            </a:effectLst>
            <a:scene3d>
              <a:camera prst="perspectiveRelaxedModerately">
                <a:rot lat="17390630" lon="0" rev="0"/>
              </a:camera>
              <a:lightRig rig="threePt" dir="t"/>
            </a:scene3d>
            <a:sp3d extrusionH="57150" prstMaterial="matte"/>
          </p:spPr>
          <p:txBody>
            <a:bodyPr lIns="0" tIns="0" rIns="0" bIns="0" rtlCol="0" anchor="ctr"/>
            <a:lstStyle/>
            <a:p>
              <a:pPr algn="ctr" defTabSz="4280855" eaLnBrk="1" fontAlgn="auto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491" b="1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359" name="_effect" descr="C:\Users\marc.h\Desktop\Schatten-TEST.png">
              <a:extLst>
                <a:ext uri="{FF2B5EF4-FFF2-40B4-BE49-F238E27FC236}">
                  <a16:creationId xmlns:a16="http://schemas.microsoft.com/office/drawing/2014/main" id="{2F84849C-1E4D-407E-A67A-50B045E7A4B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gray">
            <a:xfrm flipH="1">
              <a:off x="2441516" y="4131813"/>
              <a:ext cx="441435" cy="66255"/>
            </a:xfrm>
            <a:prstGeom prst="rect">
              <a:avLst/>
            </a:prstGeom>
            <a:solidFill>
              <a:srgbClr val="FFC000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grpSp>
          <p:nvGrpSpPr>
            <p:cNvPr id="360" name="Gruppieren 96">
              <a:extLst>
                <a:ext uri="{FF2B5EF4-FFF2-40B4-BE49-F238E27FC236}">
                  <a16:creationId xmlns:a16="http://schemas.microsoft.com/office/drawing/2014/main" id="{25EE6B88-E8FC-4EA4-8A56-24A40E43EBC9}"/>
                </a:ext>
              </a:extLst>
            </p:cNvPr>
            <p:cNvGrpSpPr/>
            <p:nvPr/>
          </p:nvGrpSpPr>
          <p:grpSpPr>
            <a:xfrm>
              <a:off x="2435114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361" name="Freeform 156">
                <a:extLst>
                  <a:ext uri="{FF2B5EF4-FFF2-40B4-BE49-F238E27FC236}">
                    <a16:creationId xmlns:a16="http://schemas.microsoft.com/office/drawing/2014/main" id="{6C8FAA38-E213-4C9D-8E3D-FE25DEFFE1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62" name="Freeform 159">
                <a:extLst>
                  <a:ext uri="{FF2B5EF4-FFF2-40B4-BE49-F238E27FC236}">
                    <a16:creationId xmlns:a16="http://schemas.microsoft.com/office/drawing/2014/main" id="{F46F3715-2DB4-4A8E-9B86-7B13844283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63" name="Freeform 160">
                <a:extLst>
                  <a:ext uri="{FF2B5EF4-FFF2-40B4-BE49-F238E27FC236}">
                    <a16:creationId xmlns:a16="http://schemas.microsoft.com/office/drawing/2014/main" id="{E1289D90-6D33-4858-AFF1-3E5297C443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64" name="Freeform 179">
                <a:extLst>
                  <a:ext uri="{FF2B5EF4-FFF2-40B4-BE49-F238E27FC236}">
                    <a16:creationId xmlns:a16="http://schemas.microsoft.com/office/drawing/2014/main" id="{A2CBD842-82F6-49DA-92A4-4C972D2464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65" name="Freeform 180">
                <a:extLst>
                  <a:ext uri="{FF2B5EF4-FFF2-40B4-BE49-F238E27FC236}">
                    <a16:creationId xmlns:a16="http://schemas.microsoft.com/office/drawing/2014/main" id="{37073ADE-249B-4453-8067-DE50E1EF00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66" name="Freeform 181">
                <a:extLst>
                  <a:ext uri="{FF2B5EF4-FFF2-40B4-BE49-F238E27FC236}">
                    <a16:creationId xmlns:a16="http://schemas.microsoft.com/office/drawing/2014/main" id="{D76DF162-8A96-4470-A400-130AD8F8A1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67" name="Freeform 182">
                <a:extLst>
                  <a:ext uri="{FF2B5EF4-FFF2-40B4-BE49-F238E27FC236}">
                    <a16:creationId xmlns:a16="http://schemas.microsoft.com/office/drawing/2014/main" id="{936DB627-4AC0-4F6F-9BA6-3C0111F182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68" name="Freeform 183">
                <a:extLst>
                  <a:ext uri="{FF2B5EF4-FFF2-40B4-BE49-F238E27FC236}">
                    <a16:creationId xmlns:a16="http://schemas.microsoft.com/office/drawing/2014/main" id="{A6317E51-D0D7-4E42-87A7-CEE1FE895D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69" name="Freeform 184">
                <a:extLst>
                  <a:ext uri="{FF2B5EF4-FFF2-40B4-BE49-F238E27FC236}">
                    <a16:creationId xmlns:a16="http://schemas.microsoft.com/office/drawing/2014/main" id="{9259AB9E-E12C-42B1-A225-FA3B3B1A49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70" name="Freeform 185">
                <a:extLst>
                  <a:ext uri="{FF2B5EF4-FFF2-40B4-BE49-F238E27FC236}">
                    <a16:creationId xmlns:a16="http://schemas.microsoft.com/office/drawing/2014/main" id="{358B2223-A65C-49ED-877D-3F7816E4A4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71" name="Freeform 186">
                <a:extLst>
                  <a:ext uri="{FF2B5EF4-FFF2-40B4-BE49-F238E27FC236}">
                    <a16:creationId xmlns:a16="http://schemas.microsoft.com/office/drawing/2014/main" id="{C6E848A3-EE33-4F8D-9885-CC441DBA41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72" name="Freeform 187">
                <a:extLst>
                  <a:ext uri="{FF2B5EF4-FFF2-40B4-BE49-F238E27FC236}">
                    <a16:creationId xmlns:a16="http://schemas.microsoft.com/office/drawing/2014/main" id="{FC4BC6E9-DFE5-4381-A007-034BF52EAD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73" name="Freeform 157">
                <a:extLst>
                  <a:ext uri="{FF2B5EF4-FFF2-40B4-BE49-F238E27FC236}">
                    <a16:creationId xmlns:a16="http://schemas.microsoft.com/office/drawing/2014/main" id="{1BEC04B3-FA67-4121-B007-23844794E6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74" name="Freeform 158">
                <a:extLst>
                  <a:ext uri="{FF2B5EF4-FFF2-40B4-BE49-F238E27FC236}">
                    <a16:creationId xmlns:a16="http://schemas.microsoft.com/office/drawing/2014/main" id="{D67BC697-C898-484B-91C5-C38892F32F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75" name="Freeform 161">
                <a:extLst>
                  <a:ext uri="{FF2B5EF4-FFF2-40B4-BE49-F238E27FC236}">
                    <a16:creationId xmlns:a16="http://schemas.microsoft.com/office/drawing/2014/main" id="{6C4947B8-C74E-4FC9-93F7-445D8B33FE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76" name="Freeform 162">
                <a:extLst>
                  <a:ext uri="{FF2B5EF4-FFF2-40B4-BE49-F238E27FC236}">
                    <a16:creationId xmlns:a16="http://schemas.microsoft.com/office/drawing/2014/main" id="{90D54BDF-52B7-498F-9A94-533A52BAF8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77" name="Freeform 163">
                <a:extLst>
                  <a:ext uri="{FF2B5EF4-FFF2-40B4-BE49-F238E27FC236}">
                    <a16:creationId xmlns:a16="http://schemas.microsoft.com/office/drawing/2014/main" id="{62950255-52A5-4CD8-882F-1F04DD410C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78" name="Freeform 164">
                <a:extLst>
                  <a:ext uri="{FF2B5EF4-FFF2-40B4-BE49-F238E27FC236}">
                    <a16:creationId xmlns:a16="http://schemas.microsoft.com/office/drawing/2014/main" id="{C720FB8E-E47A-468B-97FD-98E0B0ADC0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79" name="Freeform 165">
                <a:extLst>
                  <a:ext uri="{FF2B5EF4-FFF2-40B4-BE49-F238E27FC236}">
                    <a16:creationId xmlns:a16="http://schemas.microsoft.com/office/drawing/2014/main" id="{653EAF10-2BE4-4AD6-8CE8-E15B1097AB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80" name="Freeform 166">
                <a:extLst>
                  <a:ext uri="{FF2B5EF4-FFF2-40B4-BE49-F238E27FC236}">
                    <a16:creationId xmlns:a16="http://schemas.microsoft.com/office/drawing/2014/main" id="{3BD9650E-BA16-42F8-AE56-91A01C4D66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81" name="Freeform 167">
                <a:extLst>
                  <a:ext uri="{FF2B5EF4-FFF2-40B4-BE49-F238E27FC236}">
                    <a16:creationId xmlns:a16="http://schemas.microsoft.com/office/drawing/2014/main" id="{AC3E4B6C-9F2D-4677-B595-362AFF2246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82" name="Freeform 168">
                <a:extLst>
                  <a:ext uri="{FF2B5EF4-FFF2-40B4-BE49-F238E27FC236}">
                    <a16:creationId xmlns:a16="http://schemas.microsoft.com/office/drawing/2014/main" id="{3E535552-C51A-4698-ADE6-BE54F95C6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83" name="Freeform 169">
                <a:extLst>
                  <a:ext uri="{FF2B5EF4-FFF2-40B4-BE49-F238E27FC236}">
                    <a16:creationId xmlns:a16="http://schemas.microsoft.com/office/drawing/2014/main" id="{36BE4B39-B820-458C-8984-65D98E46FB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84" name="Freeform 170">
                <a:extLst>
                  <a:ext uri="{FF2B5EF4-FFF2-40B4-BE49-F238E27FC236}">
                    <a16:creationId xmlns:a16="http://schemas.microsoft.com/office/drawing/2014/main" id="{BA387176-14C4-4DAB-8847-0FCE612B2D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85" name="Freeform 171">
                <a:extLst>
                  <a:ext uri="{FF2B5EF4-FFF2-40B4-BE49-F238E27FC236}">
                    <a16:creationId xmlns:a16="http://schemas.microsoft.com/office/drawing/2014/main" id="{7ED9AE8A-299A-4F79-B078-98953E9BC6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86" name="Freeform 172">
                <a:extLst>
                  <a:ext uri="{FF2B5EF4-FFF2-40B4-BE49-F238E27FC236}">
                    <a16:creationId xmlns:a16="http://schemas.microsoft.com/office/drawing/2014/main" id="{B2C6B28B-66F5-4EAE-829F-59757ECE52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87" name="Freeform 173">
                <a:extLst>
                  <a:ext uri="{FF2B5EF4-FFF2-40B4-BE49-F238E27FC236}">
                    <a16:creationId xmlns:a16="http://schemas.microsoft.com/office/drawing/2014/main" id="{D4F9F218-4E07-4E60-863B-27D0D8F934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88" name="Freeform 174">
                <a:extLst>
                  <a:ext uri="{FF2B5EF4-FFF2-40B4-BE49-F238E27FC236}">
                    <a16:creationId xmlns:a16="http://schemas.microsoft.com/office/drawing/2014/main" id="{AF76E99B-EE54-4787-8981-323E34E99D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89" name="Freeform 175">
                <a:extLst>
                  <a:ext uri="{FF2B5EF4-FFF2-40B4-BE49-F238E27FC236}">
                    <a16:creationId xmlns:a16="http://schemas.microsoft.com/office/drawing/2014/main" id="{7E1DE56E-DD04-433C-8D16-1B56076B6B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90" name="Freeform 176">
                <a:extLst>
                  <a:ext uri="{FF2B5EF4-FFF2-40B4-BE49-F238E27FC236}">
                    <a16:creationId xmlns:a16="http://schemas.microsoft.com/office/drawing/2014/main" id="{E9E35270-E11D-44C9-AE36-BB0005D78B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91" name="Freeform 177">
                <a:extLst>
                  <a:ext uri="{FF2B5EF4-FFF2-40B4-BE49-F238E27FC236}">
                    <a16:creationId xmlns:a16="http://schemas.microsoft.com/office/drawing/2014/main" id="{4A4B70C9-CB88-4AE2-ADF8-D2009D0AF3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92" name="Freeform 178">
                <a:extLst>
                  <a:ext uri="{FF2B5EF4-FFF2-40B4-BE49-F238E27FC236}">
                    <a16:creationId xmlns:a16="http://schemas.microsoft.com/office/drawing/2014/main" id="{BDFA31EA-CF05-4C05-9401-3C2B8889C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93" name="Freeform 188">
                <a:extLst>
                  <a:ext uri="{FF2B5EF4-FFF2-40B4-BE49-F238E27FC236}">
                    <a16:creationId xmlns:a16="http://schemas.microsoft.com/office/drawing/2014/main" id="{1F7F0E3A-A669-452D-B444-615125100F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94" name="Freeform 103">
                <a:extLst>
                  <a:ext uri="{FF2B5EF4-FFF2-40B4-BE49-F238E27FC236}">
                    <a16:creationId xmlns:a16="http://schemas.microsoft.com/office/drawing/2014/main" id="{E5046170-CBC2-4EA0-85EC-68B5C4B22D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95" name="Freeform 104">
                <a:extLst>
                  <a:ext uri="{FF2B5EF4-FFF2-40B4-BE49-F238E27FC236}">
                    <a16:creationId xmlns:a16="http://schemas.microsoft.com/office/drawing/2014/main" id="{52808831-B62D-487F-BFF5-10ED3820E40B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396" name="AutoShape 25">
              <a:extLst>
                <a:ext uri="{FF2B5EF4-FFF2-40B4-BE49-F238E27FC236}">
                  <a16:creationId xmlns:a16="http://schemas.microsoft.com/office/drawing/2014/main" id="{058E77AC-F7DA-4D81-9D36-98A4E0A4461B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86187" flipH="1">
              <a:off x="2537924" y="3836542"/>
              <a:ext cx="158269" cy="327691"/>
            </a:xfrm>
            <a:custGeom>
              <a:avLst/>
              <a:gdLst>
                <a:gd name="T0" fmla="*/ 794460491 w 792"/>
                <a:gd name="T1" fmla="*/ 729941208 h 2536"/>
                <a:gd name="T2" fmla="*/ 794460491 w 792"/>
                <a:gd name="T3" fmla="*/ 729941208 h 2536"/>
                <a:gd name="T4" fmla="*/ 794460491 w 792"/>
                <a:gd name="T5" fmla="*/ 729941208 h 2536"/>
                <a:gd name="T6" fmla="*/ 794460491 w 792"/>
                <a:gd name="T7" fmla="*/ 729941208 h 2536"/>
                <a:gd name="T8" fmla="*/ 794460491 w 792"/>
                <a:gd name="T9" fmla="*/ 729941208 h 2536"/>
                <a:gd name="T10" fmla="*/ 794460491 w 792"/>
                <a:gd name="T11" fmla="*/ 729941208 h 2536"/>
                <a:gd name="T12" fmla="*/ 794460491 w 792"/>
                <a:gd name="T13" fmla="*/ 729941208 h 2536"/>
                <a:gd name="T14" fmla="*/ 794460491 w 792"/>
                <a:gd name="T15" fmla="*/ 729941208 h 2536"/>
                <a:gd name="T16" fmla="*/ 794460491 w 792"/>
                <a:gd name="T17" fmla="*/ 729941208 h 2536"/>
                <a:gd name="T18" fmla="*/ 794460491 w 792"/>
                <a:gd name="T19" fmla="*/ 729941208 h 2536"/>
                <a:gd name="T20" fmla="*/ 794460491 w 792"/>
                <a:gd name="T21" fmla="*/ 729941208 h 2536"/>
                <a:gd name="T22" fmla="*/ 794460491 w 792"/>
                <a:gd name="T23" fmla="*/ 729941208 h 2536"/>
                <a:gd name="T24" fmla="*/ 794460491 w 792"/>
                <a:gd name="T25" fmla="*/ 729941208 h 2536"/>
                <a:gd name="T26" fmla="*/ 794460491 w 792"/>
                <a:gd name="T27" fmla="*/ 729941208 h 2536"/>
                <a:gd name="T28" fmla="*/ 0 w 792"/>
                <a:gd name="T29" fmla="*/ 729941208 h 2536"/>
                <a:gd name="T30" fmla="*/ 794460491 w 792"/>
                <a:gd name="T31" fmla="*/ 729941208 h 2536"/>
                <a:gd name="T32" fmla="*/ 794460491 w 792"/>
                <a:gd name="T33" fmla="*/ 729941208 h 2536"/>
                <a:gd name="T34" fmla="*/ 794460491 w 792"/>
                <a:gd name="T35" fmla="*/ 729941208 h 2536"/>
                <a:gd name="T36" fmla="*/ 794460491 w 792"/>
                <a:gd name="T37" fmla="*/ 729941208 h 2536"/>
                <a:gd name="T38" fmla="*/ 794460491 w 792"/>
                <a:gd name="T39" fmla="*/ 729941208 h 2536"/>
                <a:gd name="T40" fmla="*/ 794460491 w 792"/>
                <a:gd name="T41" fmla="*/ 729941208 h 2536"/>
                <a:gd name="T42" fmla="*/ 794460491 w 792"/>
                <a:gd name="T43" fmla="*/ 729941208 h 2536"/>
                <a:gd name="T44" fmla="*/ 794460491 w 792"/>
                <a:gd name="T45" fmla="*/ 729941208 h 2536"/>
                <a:gd name="T46" fmla="*/ 794460491 w 792"/>
                <a:gd name="T47" fmla="*/ 729941208 h 2536"/>
                <a:gd name="T48" fmla="*/ 794460491 w 792"/>
                <a:gd name="T49" fmla="*/ 729941208 h 2536"/>
                <a:gd name="T50" fmla="*/ 794460491 w 792"/>
                <a:gd name="T51" fmla="*/ 729941208 h 2536"/>
                <a:gd name="T52" fmla="*/ 794460491 w 792"/>
                <a:gd name="T53" fmla="*/ 729941208 h 2536"/>
                <a:gd name="T54" fmla="*/ 794460491 w 792"/>
                <a:gd name="T55" fmla="*/ 729941208 h 2536"/>
                <a:gd name="T56" fmla="*/ 794460491 w 792"/>
                <a:gd name="T57" fmla="*/ 729941208 h 2536"/>
                <a:gd name="T58" fmla="*/ 794460491 w 792"/>
                <a:gd name="T59" fmla="*/ 729941208 h 2536"/>
                <a:gd name="T60" fmla="*/ 794460491 w 792"/>
                <a:gd name="T61" fmla="*/ 729941208 h 2536"/>
                <a:gd name="T62" fmla="*/ 794460491 w 792"/>
                <a:gd name="T63" fmla="*/ 729941208 h 2536"/>
                <a:gd name="T64" fmla="*/ 794460491 w 792"/>
                <a:gd name="T65" fmla="*/ 729941208 h 2536"/>
                <a:gd name="T66" fmla="*/ 794460491 w 792"/>
                <a:gd name="T67" fmla="*/ 729941208 h 2536"/>
                <a:gd name="T68" fmla="*/ 794460491 w 792"/>
                <a:gd name="T69" fmla="*/ 729941208 h 2536"/>
                <a:gd name="T70" fmla="*/ 794460491 w 792"/>
                <a:gd name="T71" fmla="*/ 729941208 h 2536"/>
                <a:gd name="T72" fmla="*/ 794460491 w 792"/>
                <a:gd name="T73" fmla="*/ 729941208 h 2536"/>
                <a:gd name="T74" fmla="*/ 794460491 w 792"/>
                <a:gd name="T75" fmla="*/ 729941208 h 2536"/>
                <a:gd name="T76" fmla="*/ 794460491 w 792"/>
                <a:gd name="T77" fmla="*/ 729941208 h 2536"/>
                <a:gd name="T78" fmla="*/ 794460491 w 792"/>
                <a:gd name="T79" fmla="*/ 729941208 h 2536"/>
                <a:gd name="T80" fmla="*/ 794460491 w 792"/>
                <a:gd name="T81" fmla="*/ 729941208 h 2536"/>
                <a:gd name="T82" fmla="*/ 794460491 w 792"/>
                <a:gd name="T83" fmla="*/ 729941208 h 2536"/>
                <a:gd name="T84" fmla="*/ 794460491 w 792"/>
                <a:gd name="T85" fmla="*/ 729941208 h 2536"/>
                <a:gd name="T86" fmla="*/ 794460491 w 792"/>
                <a:gd name="T87" fmla="*/ 729941208 h 2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92"/>
                <a:gd name="T133" fmla="*/ 0 h 2536"/>
                <a:gd name="T134" fmla="*/ 792 w 792"/>
                <a:gd name="T135" fmla="*/ 2536 h 2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92" h="2536">
                  <a:moveTo>
                    <a:pt x="752" y="900"/>
                  </a:moveTo>
                  <a:cubicBezTo>
                    <a:pt x="752" y="888"/>
                    <a:pt x="744" y="880"/>
                    <a:pt x="740" y="872"/>
                  </a:cubicBezTo>
                  <a:cubicBezTo>
                    <a:pt x="720" y="760"/>
                    <a:pt x="736" y="656"/>
                    <a:pt x="724" y="548"/>
                  </a:cubicBezTo>
                  <a:cubicBezTo>
                    <a:pt x="724" y="524"/>
                    <a:pt x="724" y="500"/>
                    <a:pt x="716" y="480"/>
                  </a:cubicBezTo>
                  <a:cubicBezTo>
                    <a:pt x="712" y="472"/>
                    <a:pt x="704" y="464"/>
                    <a:pt x="696" y="456"/>
                  </a:cubicBezTo>
                  <a:cubicBezTo>
                    <a:pt x="688" y="452"/>
                    <a:pt x="668" y="452"/>
                    <a:pt x="672" y="444"/>
                  </a:cubicBezTo>
                  <a:cubicBezTo>
                    <a:pt x="688" y="332"/>
                    <a:pt x="664" y="224"/>
                    <a:pt x="656" y="116"/>
                  </a:cubicBezTo>
                  <a:cubicBezTo>
                    <a:pt x="652" y="56"/>
                    <a:pt x="600" y="0"/>
                    <a:pt x="532" y="8"/>
                  </a:cubicBezTo>
                  <a:cubicBezTo>
                    <a:pt x="512" y="12"/>
                    <a:pt x="492" y="16"/>
                    <a:pt x="472" y="32"/>
                  </a:cubicBezTo>
                  <a:cubicBezTo>
                    <a:pt x="440" y="60"/>
                    <a:pt x="416" y="88"/>
                    <a:pt x="400" y="124"/>
                  </a:cubicBezTo>
                  <a:cubicBezTo>
                    <a:pt x="392" y="148"/>
                    <a:pt x="380" y="164"/>
                    <a:pt x="372" y="188"/>
                  </a:cubicBezTo>
                  <a:cubicBezTo>
                    <a:pt x="364" y="212"/>
                    <a:pt x="364" y="232"/>
                    <a:pt x="360" y="256"/>
                  </a:cubicBezTo>
                  <a:cubicBezTo>
                    <a:pt x="356" y="272"/>
                    <a:pt x="364" y="284"/>
                    <a:pt x="364" y="296"/>
                  </a:cubicBezTo>
                  <a:cubicBezTo>
                    <a:pt x="364" y="352"/>
                    <a:pt x="308" y="388"/>
                    <a:pt x="264" y="416"/>
                  </a:cubicBezTo>
                  <a:cubicBezTo>
                    <a:pt x="240" y="432"/>
                    <a:pt x="204" y="428"/>
                    <a:pt x="184" y="452"/>
                  </a:cubicBezTo>
                  <a:cubicBezTo>
                    <a:pt x="144" y="496"/>
                    <a:pt x="160" y="556"/>
                    <a:pt x="144" y="608"/>
                  </a:cubicBezTo>
                  <a:cubicBezTo>
                    <a:pt x="144" y="612"/>
                    <a:pt x="156" y="616"/>
                    <a:pt x="152" y="628"/>
                  </a:cubicBezTo>
                  <a:cubicBezTo>
                    <a:pt x="148" y="696"/>
                    <a:pt x="156" y="764"/>
                    <a:pt x="140" y="832"/>
                  </a:cubicBezTo>
                  <a:cubicBezTo>
                    <a:pt x="128" y="876"/>
                    <a:pt x="120" y="916"/>
                    <a:pt x="116" y="960"/>
                  </a:cubicBezTo>
                  <a:cubicBezTo>
                    <a:pt x="112" y="1024"/>
                    <a:pt x="116" y="1088"/>
                    <a:pt x="116" y="1152"/>
                  </a:cubicBezTo>
                  <a:cubicBezTo>
                    <a:pt x="116" y="1212"/>
                    <a:pt x="108" y="1272"/>
                    <a:pt x="96" y="1336"/>
                  </a:cubicBezTo>
                  <a:cubicBezTo>
                    <a:pt x="92" y="1360"/>
                    <a:pt x="104" y="1384"/>
                    <a:pt x="120" y="1404"/>
                  </a:cubicBezTo>
                  <a:cubicBezTo>
                    <a:pt x="136" y="1424"/>
                    <a:pt x="164" y="1432"/>
                    <a:pt x="188" y="1436"/>
                  </a:cubicBezTo>
                  <a:cubicBezTo>
                    <a:pt x="192" y="1436"/>
                    <a:pt x="196" y="1440"/>
                    <a:pt x="196" y="1444"/>
                  </a:cubicBezTo>
                  <a:cubicBezTo>
                    <a:pt x="192" y="1540"/>
                    <a:pt x="192" y="1636"/>
                    <a:pt x="180" y="1736"/>
                  </a:cubicBezTo>
                  <a:cubicBezTo>
                    <a:pt x="180" y="1744"/>
                    <a:pt x="188" y="1748"/>
                    <a:pt x="188" y="1752"/>
                  </a:cubicBezTo>
                  <a:cubicBezTo>
                    <a:pt x="188" y="1820"/>
                    <a:pt x="152" y="1884"/>
                    <a:pt x="148" y="1956"/>
                  </a:cubicBezTo>
                  <a:cubicBezTo>
                    <a:pt x="144" y="2056"/>
                    <a:pt x="156" y="2152"/>
                    <a:pt x="148" y="2252"/>
                  </a:cubicBezTo>
                  <a:cubicBezTo>
                    <a:pt x="148" y="2316"/>
                    <a:pt x="120" y="2376"/>
                    <a:pt x="88" y="2432"/>
                  </a:cubicBezTo>
                  <a:cubicBezTo>
                    <a:pt x="64" y="2468"/>
                    <a:pt x="24" y="2484"/>
                    <a:pt x="0" y="2516"/>
                  </a:cubicBezTo>
                  <a:cubicBezTo>
                    <a:pt x="52" y="2512"/>
                    <a:pt x="104" y="2516"/>
                    <a:pt x="152" y="2492"/>
                  </a:cubicBezTo>
                  <a:cubicBezTo>
                    <a:pt x="148" y="2460"/>
                    <a:pt x="180" y="2424"/>
                    <a:pt x="208" y="2424"/>
                  </a:cubicBezTo>
                  <a:cubicBezTo>
                    <a:pt x="224" y="2428"/>
                    <a:pt x="204" y="2460"/>
                    <a:pt x="220" y="2476"/>
                  </a:cubicBezTo>
                  <a:cubicBezTo>
                    <a:pt x="220" y="2448"/>
                    <a:pt x="224" y="2420"/>
                    <a:pt x="244" y="2396"/>
                  </a:cubicBezTo>
                  <a:cubicBezTo>
                    <a:pt x="268" y="2372"/>
                    <a:pt x="248" y="2336"/>
                    <a:pt x="224" y="2312"/>
                  </a:cubicBezTo>
                  <a:cubicBezTo>
                    <a:pt x="224" y="2308"/>
                    <a:pt x="221" y="2300"/>
                    <a:pt x="220" y="2292"/>
                  </a:cubicBezTo>
                  <a:cubicBezTo>
                    <a:pt x="216" y="2244"/>
                    <a:pt x="224" y="2196"/>
                    <a:pt x="236" y="2144"/>
                  </a:cubicBezTo>
                  <a:cubicBezTo>
                    <a:pt x="244" y="2084"/>
                    <a:pt x="264" y="2032"/>
                    <a:pt x="280" y="1972"/>
                  </a:cubicBezTo>
                  <a:cubicBezTo>
                    <a:pt x="296" y="1916"/>
                    <a:pt x="284" y="1856"/>
                    <a:pt x="304" y="1800"/>
                  </a:cubicBezTo>
                  <a:cubicBezTo>
                    <a:pt x="308" y="1784"/>
                    <a:pt x="312" y="1760"/>
                    <a:pt x="328" y="1752"/>
                  </a:cubicBezTo>
                  <a:cubicBezTo>
                    <a:pt x="352" y="1740"/>
                    <a:pt x="380" y="1740"/>
                    <a:pt x="404" y="1744"/>
                  </a:cubicBezTo>
                  <a:cubicBezTo>
                    <a:pt x="432" y="1744"/>
                    <a:pt x="460" y="1748"/>
                    <a:pt x="488" y="1752"/>
                  </a:cubicBezTo>
                  <a:cubicBezTo>
                    <a:pt x="500" y="1756"/>
                    <a:pt x="504" y="1768"/>
                    <a:pt x="508" y="1780"/>
                  </a:cubicBezTo>
                  <a:cubicBezTo>
                    <a:pt x="512" y="1840"/>
                    <a:pt x="496" y="1896"/>
                    <a:pt x="488" y="1956"/>
                  </a:cubicBezTo>
                  <a:cubicBezTo>
                    <a:pt x="484" y="2024"/>
                    <a:pt x="496" y="2092"/>
                    <a:pt x="480" y="2164"/>
                  </a:cubicBezTo>
                  <a:cubicBezTo>
                    <a:pt x="476" y="2192"/>
                    <a:pt x="476" y="2220"/>
                    <a:pt x="468" y="2248"/>
                  </a:cubicBezTo>
                  <a:cubicBezTo>
                    <a:pt x="460" y="2272"/>
                    <a:pt x="448" y="2292"/>
                    <a:pt x="444" y="2320"/>
                  </a:cubicBezTo>
                  <a:cubicBezTo>
                    <a:pt x="440" y="2328"/>
                    <a:pt x="428" y="2328"/>
                    <a:pt x="428" y="2340"/>
                  </a:cubicBezTo>
                  <a:cubicBezTo>
                    <a:pt x="424" y="2352"/>
                    <a:pt x="420" y="2364"/>
                    <a:pt x="420" y="2376"/>
                  </a:cubicBezTo>
                  <a:cubicBezTo>
                    <a:pt x="424" y="2392"/>
                    <a:pt x="440" y="2404"/>
                    <a:pt x="444" y="2416"/>
                  </a:cubicBezTo>
                  <a:cubicBezTo>
                    <a:pt x="452" y="2432"/>
                    <a:pt x="452" y="2452"/>
                    <a:pt x="448" y="2468"/>
                  </a:cubicBezTo>
                  <a:cubicBezTo>
                    <a:pt x="444" y="2476"/>
                    <a:pt x="436" y="2488"/>
                    <a:pt x="444" y="2496"/>
                  </a:cubicBezTo>
                  <a:cubicBezTo>
                    <a:pt x="480" y="2524"/>
                    <a:pt x="564" y="2536"/>
                    <a:pt x="552" y="2472"/>
                  </a:cubicBezTo>
                  <a:cubicBezTo>
                    <a:pt x="540" y="2432"/>
                    <a:pt x="512" y="2392"/>
                    <a:pt x="516" y="2348"/>
                  </a:cubicBezTo>
                  <a:cubicBezTo>
                    <a:pt x="516" y="2312"/>
                    <a:pt x="520" y="2276"/>
                    <a:pt x="532" y="2240"/>
                  </a:cubicBezTo>
                  <a:cubicBezTo>
                    <a:pt x="596" y="2088"/>
                    <a:pt x="640" y="1932"/>
                    <a:pt x="624" y="1768"/>
                  </a:cubicBezTo>
                  <a:cubicBezTo>
                    <a:pt x="652" y="1744"/>
                    <a:pt x="696" y="1748"/>
                    <a:pt x="732" y="1748"/>
                  </a:cubicBezTo>
                  <a:cubicBezTo>
                    <a:pt x="736" y="1640"/>
                    <a:pt x="708" y="1536"/>
                    <a:pt x="724" y="1428"/>
                  </a:cubicBezTo>
                  <a:cubicBezTo>
                    <a:pt x="728" y="1408"/>
                    <a:pt x="756" y="1416"/>
                    <a:pt x="768" y="1404"/>
                  </a:cubicBezTo>
                  <a:cubicBezTo>
                    <a:pt x="784" y="1392"/>
                    <a:pt x="792" y="1368"/>
                    <a:pt x="792" y="1356"/>
                  </a:cubicBezTo>
                  <a:cubicBezTo>
                    <a:pt x="740" y="1204"/>
                    <a:pt x="784" y="1060"/>
                    <a:pt x="752" y="900"/>
                  </a:cubicBezTo>
                  <a:close/>
                  <a:moveTo>
                    <a:pt x="208" y="1272"/>
                  </a:moveTo>
                  <a:cubicBezTo>
                    <a:pt x="200" y="1316"/>
                    <a:pt x="200" y="1364"/>
                    <a:pt x="200" y="1408"/>
                  </a:cubicBezTo>
                  <a:cubicBezTo>
                    <a:pt x="200" y="1416"/>
                    <a:pt x="204" y="1432"/>
                    <a:pt x="192" y="1428"/>
                  </a:cubicBezTo>
                  <a:cubicBezTo>
                    <a:pt x="176" y="1428"/>
                    <a:pt x="172" y="1420"/>
                    <a:pt x="160" y="1408"/>
                  </a:cubicBezTo>
                  <a:cubicBezTo>
                    <a:pt x="160" y="1404"/>
                    <a:pt x="160" y="1400"/>
                    <a:pt x="160" y="1396"/>
                  </a:cubicBezTo>
                  <a:cubicBezTo>
                    <a:pt x="148" y="1400"/>
                    <a:pt x="140" y="1388"/>
                    <a:pt x="136" y="1376"/>
                  </a:cubicBezTo>
                  <a:cubicBezTo>
                    <a:pt x="128" y="1356"/>
                    <a:pt x="132" y="1324"/>
                    <a:pt x="148" y="1324"/>
                  </a:cubicBezTo>
                  <a:cubicBezTo>
                    <a:pt x="172" y="1320"/>
                    <a:pt x="164" y="1364"/>
                    <a:pt x="172" y="1384"/>
                  </a:cubicBezTo>
                  <a:cubicBezTo>
                    <a:pt x="176" y="1388"/>
                    <a:pt x="180" y="1388"/>
                    <a:pt x="184" y="1388"/>
                  </a:cubicBezTo>
                  <a:cubicBezTo>
                    <a:pt x="180" y="1352"/>
                    <a:pt x="184" y="1312"/>
                    <a:pt x="176" y="1276"/>
                  </a:cubicBezTo>
                  <a:cubicBezTo>
                    <a:pt x="172" y="1252"/>
                    <a:pt x="152" y="1236"/>
                    <a:pt x="156" y="1208"/>
                  </a:cubicBezTo>
                  <a:cubicBezTo>
                    <a:pt x="180" y="1060"/>
                    <a:pt x="224" y="928"/>
                    <a:pt x="232" y="780"/>
                  </a:cubicBezTo>
                  <a:cubicBezTo>
                    <a:pt x="232" y="756"/>
                    <a:pt x="224" y="724"/>
                    <a:pt x="248" y="712"/>
                  </a:cubicBezTo>
                  <a:cubicBezTo>
                    <a:pt x="264" y="704"/>
                    <a:pt x="257" y="732"/>
                    <a:pt x="260" y="744"/>
                  </a:cubicBezTo>
                  <a:cubicBezTo>
                    <a:pt x="304" y="928"/>
                    <a:pt x="224" y="1092"/>
                    <a:pt x="208" y="1272"/>
                  </a:cubicBezTo>
                  <a:close/>
                  <a:moveTo>
                    <a:pt x="656" y="876"/>
                  </a:moveTo>
                  <a:cubicBezTo>
                    <a:pt x="656" y="888"/>
                    <a:pt x="641" y="882"/>
                    <a:pt x="632" y="876"/>
                  </a:cubicBezTo>
                  <a:cubicBezTo>
                    <a:pt x="620" y="868"/>
                    <a:pt x="620" y="852"/>
                    <a:pt x="624" y="844"/>
                  </a:cubicBezTo>
                  <a:cubicBezTo>
                    <a:pt x="632" y="824"/>
                    <a:pt x="624" y="800"/>
                    <a:pt x="616" y="780"/>
                  </a:cubicBezTo>
                  <a:cubicBezTo>
                    <a:pt x="608" y="764"/>
                    <a:pt x="608" y="744"/>
                    <a:pt x="624" y="728"/>
                  </a:cubicBezTo>
                  <a:cubicBezTo>
                    <a:pt x="628" y="728"/>
                    <a:pt x="632" y="728"/>
                    <a:pt x="636" y="728"/>
                  </a:cubicBezTo>
                  <a:cubicBezTo>
                    <a:pt x="664" y="776"/>
                    <a:pt x="660" y="828"/>
                    <a:pt x="656" y="876"/>
                  </a:cubicBezTo>
                  <a:close/>
                  <a:moveTo>
                    <a:pt x="728" y="1400"/>
                  </a:moveTo>
                  <a:cubicBezTo>
                    <a:pt x="724" y="1400"/>
                    <a:pt x="716" y="1392"/>
                    <a:pt x="720" y="1384"/>
                  </a:cubicBezTo>
                  <a:cubicBezTo>
                    <a:pt x="728" y="1364"/>
                    <a:pt x="716" y="1332"/>
                    <a:pt x="748" y="1332"/>
                  </a:cubicBezTo>
                  <a:cubicBezTo>
                    <a:pt x="752" y="1332"/>
                    <a:pt x="752" y="1341"/>
                    <a:pt x="756" y="1348"/>
                  </a:cubicBezTo>
                  <a:cubicBezTo>
                    <a:pt x="768" y="1372"/>
                    <a:pt x="756" y="1400"/>
                    <a:pt x="728" y="1400"/>
                  </a:cubicBezTo>
                  <a:close/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428085" tIns="214043" rIns="428085" bIns="214043" numCol="1" anchor="t" anchorCtr="0" compatLnSpc="1">
              <a:prstTxWarp prst="textNoShape">
                <a:avLst/>
              </a:prstTxWarp>
            </a:bodyPr>
            <a:lstStyle/>
            <a:p>
              <a:pPr defTabSz="428085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554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7" name="AutoShape 22">
              <a:extLst>
                <a:ext uri="{FF2B5EF4-FFF2-40B4-BE49-F238E27FC236}">
                  <a16:creationId xmlns:a16="http://schemas.microsoft.com/office/drawing/2014/main" id="{B6C34BD9-61F8-49F2-87EE-3459E5EEA8E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42686" y="3820290"/>
              <a:ext cx="139888" cy="340342"/>
            </a:xfrm>
            <a:custGeom>
              <a:avLst/>
              <a:gdLst>
                <a:gd name="T0" fmla="*/ 808464432 w 680"/>
                <a:gd name="T1" fmla="*/ 813928491 h 2335"/>
                <a:gd name="T2" fmla="*/ 808464432 w 680"/>
                <a:gd name="T3" fmla="*/ 813928491 h 2335"/>
                <a:gd name="T4" fmla="*/ 808464432 w 680"/>
                <a:gd name="T5" fmla="*/ 813928491 h 2335"/>
                <a:gd name="T6" fmla="*/ 808464432 w 680"/>
                <a:gd name="T7" fmla="*/ 813928491 h 2335"/>
                <a:gd name="T8" fmla="*/ 808464432 w 680"/>
                <a:gd name="T9" fmla="*/ 813928491 h 2335"/>
                <a:gd name="T10" fmla="*/ 808464432 w 680"/>
                <a:gd name="T11" fmla="*/ 813928491 h 2335"/>
                <a:gd name="T12" fmla="*/ 808464432 w 680"/>
                <a:gd name="T13" fmla="*/ 813928491 h 2335"/>
                <a:gd name="T14" fmla="*/ 808464432 w 680"/>
                <a:gd name="T15" fmla="*/ 813928491 h 2335"/>
                <a:gd name="T16" fmla="*/ 808464432 w 680"/>
                <a:gd name="T17" fmla="*/ 813928491 h 2335"/>
                <a:gd name="T18" fmla="*/ 808464432 w 680"/>
                <a:gd name="T19" fmla="*/ 813928491 h 2335"/>
                <a:gd name="T20" fmla="*/ 808464432 w 680"/>
                <a:gd name="T21" fmla="*/ 813928491 h 2335"/>
                <a:gd name="T22" fmla="*/ 808464432 w 680"/>
                <a:gd name="T23" fmla="*/ 813928491 h 2335"/>
                <a:gd name="T24" fmla="*/ 808464432 w 680"/>
                <a:gd name="T25" fmla="*/ 813928491 h 2335"/>
                <a:gd name="T26" fmla="*/ 808464432 w 680"/>
                <a:gd name="T27" fmla="*/ 813928491 h 2335"/>
                <a:gd name="T28" fmla="*/ 808464432 w 680"/>
                <a:gd name="T29" fmla="*/ 813928491 h 2335"/>
                <a:gd name="T30" fmla="*/ 808464432 w 680"/>
                <a:gd name="T31" fmla="*/ 813928491 h 2335"/>
                <a:gd name="T32" fmla="*/ 808464432 w 680"/>
                <a:gd name="T33" fmla="*/ 813928491 h 2335"/>
                <a:gd name="T34" fmla="*/ 808464432 w 680"/>
                <a:gd name="T35" fmla="*/ 813928491 h 2335"/>
                <a:gd name="T36" fmla="*/ 808464432 w 680"/>
                <a:gd name="T37" fmla="*/ 813928491 h 2335"/>
                <a:gd name="T38" fmla="*/ 808464432 w 680"/>
                <a:gd name="T39" fmla="*/ 813928491 h 2335"/>
                <a:gd name="T40" fmla="*/ 808464432 w 680"/>
                <a:gd name="T41" fmla="*/ 813928491 h 2335"/>
                <a:gd name="T42" fmla="*/ 808464432 w 680"/>
                <a:gd name="T43" fmla="*/ 813928491 h 2335"/>
                <a:gd name="T44" fmla="*/ 808464432 w 680"/>
                <a:gd name="T45" fmla="*/ 813928491 h 2335"/>
                <a:gd name="T46" fmla="*/ 808464432 w 680"/>
                <a:gd name="T47" fmla="*/ 813928491 h 2335"/>
                <a:gd name="T48" fmla="*/ 808464432 w 680"/>
                <a:gd name="T49" fmla="*/ 813928491 h 2335"/>
                <a:gd name="T50" fmla="*/ 808464432 w 680"/>
                <a:gd name="T51" fmla="*/ 813928491 h 2335"/>
                <a:gd name="T52" fmla="*/ 808464432 w 680"/>
                <a:gd name="T53" fmla="*/ 813928491 h 2335"/>
                <a:gd name="T54" fmla="*/ 808464432 w 680"/>
                <a:gd name="T55" fmla="*/ 813928491 h 2335"/>
                <a:gd name="T56" fmla="*/ 808464432 w 680"/>
                <a:gd name="T57" fmla="*/ 813928491 h 2335"/>
                <a:gd name="T58" fmla="*/ 808464432 w 680"/>
                <a:gd name="T59" fmla="*/ 813928491 h 2335"/>
                <a:gd name="T60" fmla="*/ 808464432 w 680"/>
                <a:gd name="T61" fmla="*/ 813928491 h 2335"/>
                <a:gd name="T62" fmla="*/ 808464432 w 680"/>
                <a:gd name="T63" fmla="*/ 813928491 h 2335"/>
                <a:gd name="T64" fmla="*/ 808464432 w 680"/>
                <a:gd name="T65" fmla="*/ 813928491 h 2335"/>
                <a:gd name="T66" fmla="*/ 808464432 w 680"/>
                <a:gd name="T67" fmla="*/ 813928491 h 2335"/>
                <a:gd name="T68" fmla="*/ 808464432 w 680"/>
                <a:gd name="T69" fmla="*/ 813928491 h 2335"/>
                <a:gd name="T70" fmla="*/ 808464432 w 680"/>
                <a:gd name="T71" fmla="*/ 813928491 h 2335"/>
                <a:gd name="T72" fmla="*/ 808464432 w 680"/>
                <a:gd name="T73" fmla="*/ 813928491 h 2335"/>
                <a:gd name="T74" fmla="*/ 808464432 w 680"/>
                <a:gd name="T75" fmla="*/ 813928491 h 2335"/>
                <a:gd name="T76" fmla="*/ 808464432 w 680"/>
                <a:gd name="T77" fmla="*/ 813928491 h 2335"/>
                <a:gd name="T78" fmla="*/ 808464432 w 680"/>
                <a:gd name="T79" fmla="*/ 813928491 h 2335"/>
                <a:gd name="T80" fmla="*/ 808464432 w 680"/>
                <a:gd name="T81" fmla="*/ 813928491 h 2335"/>
                <a:gd name="T82" fmla="*/ 808464432 w 680"/>
                <a:gd name="T83" fmla="*/ 813928491 h 2335"/>
                <a:gd name="T84" fmla="*/ 808464432 w 680"/>
                <a:gd name="T85" fmla="*/ 813928491 h 2335"/>
                <a:gd name="T86" fmla="*/ 808464432 w 680"/>
                <a:gd name="T87" fmla="*/ 813928491 h 2335"/>
                <a:gd name="T88" fmla="*/ 808464432 w 680"/>
                <a:gd name="T89" fmla="*/ 813928491 h 2335"/>
                <a:gd name="T90" fmla="*/ 808464432 w 680"/>
                <a:gd name="T91" fmla="*/ 813928491 h 2335"/>
                <a:gd name="T92" fmla="*/ 808464432 w 680"/>
                <a:gd name="T93" fmla="*/ 813928491 h 2335"/>
                <a:gd name="T94" fmla="*/ 808464432 w 680"/>
                <a:gd name="T95" fmla="*/ 813928491 h 2335"/>
                <a:gd name="T96" fmla="*/ 808464432 w 680"/>
                <a:gd name="T97" fmla="*/ 813928491 h 2335"/>
                <a:gd name="T98" fmla="*/ 808464432 w 680"/>
                <a:gd name="T99" fmla="*/ 813928491 h 2335"/>
                <a:gd name="T100" fmla="*/ 808464432 w 680"/>
                <a:gd name="T101" fmla="*/ 813928491 h 2335"/>
                <a:gd name="T102" fmla="*/ 808464432 w 680"/>
                <a:gd name="T103" fmla="*/ 813928491 h 2335"/>
                <a:gd name="T104" fmla="*/ 808464432 w 680"/>
                <a:gd name="T105" fmla="*/ 813928491 h 2335"/>
                <a:gd name="T106" fmla="*/ 808464432 w 680"/>
                <a:gd name="T107" fmla="*/ 813928491 h 2335"/>
                <a:gd name="T108" fmla="*/ 808464432 w 680"/>
                <a:gd name="T109" fmla="*/ 813928491 h 2335"/>
                <a:gd name="T110" fmla="*/ 808464432 w 680"/>
                <a:gd name="T111" fmla="*/ 813928491 h 2335"/>
                <a:gd name="T112" fmla="*/ 808464432 w 680"/>
                <a:gd name="T113" fmla="*/ 813928491 h 2335"/>
                <a:gd name="T114" fmla="*/ 808464432 w 680"/>
                <a:gd name="T115" fmla="*/ 813928491 h 233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0"/>
                <a:gd name="T175" fmla="*/ 0 h 2335"/>
                <a:gd name="T176" fmla="*/ 680 w 680"/>
                <a:gd name="T177" fmla="*/ 2335 h 233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0" h="2335">
                  <a:moveTo>
                    <a:pt x="676" y="998"/>
                  </a:moveTo>
                  <a:cubicBezTo>
                    <a:pt x="670" y="976"/>
                    <a:pt x="677" y="952"/>
                    <a:pt x="674" y="929"/>
                  </a:cubicBezTo>
                  <a:cubicBezTo>
                    <a:pt x="673" y="919"/>
                    <a:pt x="670" y="909"/>
                    <a:pt x="668" y="898"/>
                  </a:cubicBezTo>
                  <a:cubicBezTo>
                    <a:pt x="666" y="885"/>
                    <a:pt x="667" y="872"/>
                    <a:pt x="667" y="859"/>
                  </a:cubicBezTo>
                  <a:cubicBezTo>
                    <a:pt x="666" y="834"/>
                    <a:pt x="662" y="810"/>
                    <a:pt x="662" y="785"/>
                  </a:cubicBezTo>
                  <a:cubicBezTo>
                    <a:pt x="663" y="759"/>
                    <a:pt x="664" y="732"/>
                    <a:pt x="662" y="706"/>
                  </a:cubicBezTo>
                  <a:cubicBezTo>
                    <a:pt x="657" y="647"/>
                    <a:pt x="645" y="590"/>
                    <a:pt x="632" y="533"/>
                  </a:cubicBezTo>
                  <a:cubicBezTo>
                    <a:pt x="628" y="513"/>
                    <a:pt x="623" y="492"/>
                    <a:pt x="618" y="472"/>
                  </a:cubicBezTo>
                  <a:cubicBezTo>
                    <a:pt x="613" y="453"/>
                    <a:pt x="607" y="436"/>
                    <a:pt x="592" y="423"/>
                  </a:cubicBezTo>
                  <a:cubicBezTo>
                    <a:pt x="572" y="405"/>
                    <a:pt x="547" y="403"/>
                    <a:pt x="524" y="392"/>
                  </a:cubicBezTo>
                  <a:cubicBezTo>
                    <a:pt x="506" y="384"/>
                    <a:pt x="489" y="373"/>
                    <a:pt x="471" y="364"/>
                  </a:cubicBezTo>
                  <a:cubicBezTo>
                    <a:pt x="463" y="361"/>
                    <a:pt x="455" y="357"/>
                    <a:pt x="449" y="351"/>
                  </a:cubicBezTo>
                  <a:cubicBezTo>
                    <a:pt x="443" y="344"/>
                    <a:pt x="438" y="342"/>
                    <a:pt x="430" y="339"/>
                  </a:cubicBezTo>
                  <a:cubicBezTo>
                    <a:pt x="420" y="336"/>
                    <a:pt x="415" y="332"/>
                    <a:pt x="415" y="323"/>
                  </a:cubicBezTo>
                  <a:cubicBezTo>
                    <a:pt x="415" y="314"/>
                    <a:pt x="415" y="304"/>
                    <a:pt x="414" y="294"/>
                  </a:cubicBezTo>
                  <a:cubicBezTo>
                    <a:pt x="413" y="285"/>
                    <a:pt x="412" y="279"/>
                    <a:pt x="419" y="272"/>
                  </a:cubicBezTo>
                  <a:cubicBezTo>
                    <a:pt x="426" y="263"/>
                    <a:pt x="428" y="252"/>
                    <a:pt x="429" y="241"/>
                  </a:cubicBezTo>
                  <a:cubicBezTo>
                    <a:pt x="430" y="234"/>
                    <a:pt x="431" y="227"/>
                    <a:pt x="431" y="220"/>
                  </a:cubicBezTo>
                  <a:cubicBezTo>
                    <a:pt x="431" y="214"/>
                    <a:pt x="431" y="215"/>
                    <a:pt x="436" y="216"/>
                  </a:cubicBezTo>
                  <a:cubicBezTo>
                    <a:pt x="450" y="219"/>
                    <a:pt x="451" y="211"/>
                    <a:pt x="456" y="200"/>
                  </a:cubicBezTo>
                  <a:cubicBezTo>
                    <a:pt x="461" y="190"/>
                    <a:pt x="474" y="134"/>
                    <a:pt x="449" y="140"/>
                  </a:cubicBezTo>
                  <a:cubicBezTo>
                    <a:pt x="446" y="141"/>
                    <a:pt x="449" y="130"/>
                    <a:pt x="449" y="128"/>
                  </a:cubicBezTo>
                  <a:cubicBezTo>
                    <a:pt x="450" y="121"/>
                    <a:pt x="453" y="114"/>
                    <a:pt x="451" y="106"/>
                  </a:cubicBezTo>
                  <a:cubicBezTo>
                    <a:pt x="448" y="95"/>
                    <a:pt x="452" y="86"/>
                    <a:pt x="450" y="76"/>
                  </a:cubicBezTo>
                  <a:cubicBezTo>
                    <a:pt x="449" y="66"/>
                    <a:pt x="442" y="57"/>
                    <a:pt x="438" y="48"/>
                  </a:cubicBezTo>
                  <a:cubicBezTo>
                    <a:pt x="435" y="43"/>
                    <a:pt x="435" y="38"/>
                    <a:pt x="429" y="35"/>
                  </a:cubicBezTo>
                  <a:cubicBezTo>
                    <a:pt x="423" y="32"/>
                    <a:pt x="421" y="28"/>
                    <a:pt x="416" y="24"/>
                  </a:cubicBezTo>
                  <a:cubicBezTo>
                    <a:pt x="408" y="17"/>
                    <a:pt x="397" y="5"/>
                    <a:pt x="386" y="7"/>
                  </a:cubicBezTo>
                  <a:cubicBezTo>
                    <a:pt x="381" y="9"/>
                    <a:pt x="376" y="5"/>
                    <a:pt x="371" y="3"/>
                  </a:cubicBezTo>
                  <a:cubicBezTo>
                    <a:pt x="369" y="3"/>
                    <a:pt x="366" y="3"/>
                    <a:pt x="364" y="3"/>
                  </a:cubicBezTo>
                  <a:cubicBezTo>
                    <a:pt x="360" y="3"/>
                    <a:pt x="356" y="0"/>
                    <a:pt x="352" y="0"/>
                  </a:cubicBezTo>
                  <a:cubicBezTo>
                    <a:pt x="346" y="0"/>
                    <a:pt x="338" y="1"/>
                    <a:pt x="332" y="1"/>
                  </a:cubicBezTo>
                  <a:cubicBezTo>
                    <a:pt x="330" y="2"/>
                    <a:pt x="328" y="4"/>
                    <a:pt x="325" y="4"/>
                  </a:cubicBezTo>
                  <a:cubicBezTo>
                    <a:pt x="322" y="5"/>
                    <a:pt x="320" y="3"/>
                    <a:pt x="316" y="3"/>
                  </a:cubicBezTo>
                  <a:cubicBezTo>
                    <a:pt x="311" y="3"/>
                    <a:pt x="307" y="9"/>
                    <a:pt x="301" y="10"/>
                  </a:cubicBezTo>
                  <a:cubicBezTo>
                    <a:pt x="299" y="11"/>
                    <a:pt x="297" y="13"/>
                    <a:pt x="295" y="14"/>
                  </a:cubicBezTo>
                  <a:cubicBezTo>
                    <a:pt x="292" y="15"/>
                    <a:pt x="288" y="16"/>
                    <a:pt x="285" y="17"/>
                  </a:cubicBezTo>
                  <a:cubicBezTo>
                    <a:pt x="280" y="20"/>
                    <a:pt x="276" y="22"/>
                    <a:pt x="272" y="25"/>
                  </a:cubicBezTo>
                  <a:cubicBezTo>
                    <a:pt x="269" y="27"/>
                    <a:pt x="268" y="30"/>
                    <a:pt x="266" y="32"/>
                  </a:cubicBezTo>
                  <a:cubicBezTo>
                    <a:pt x="262" y="35"/>
                    <a:pt x="257" y="39"/>
                    <a:pt x="254" y="44"/>
                  </a:cubicBezTo>
                  <a:cubicBezTo>
                    <a:pt x="253" y="47"/>
                    <a:pt x="253" y="50"/>
                    <a:pt x="251" y="53"/>
                  </a:cubicBezTo>
                  <a:cubicBezTo>
                    <a:pt x="250" y="56"/>
                    <a:pt x="247" y="57"/>
                    <a:pt x="245" y="61"/>
                  </a:cubicBezTo>
                  <a:cubicBezTo>
                    <a:pt x="242" y="69"/>
                    <a:pt x="237" y="87"/>
                    <a:pt x="241" y="95"/>
                  </a:cubicBezTo>
                  <a:cubicBezTo>
                    <a:pt x="245" y="104"/>
                    <a:pt x="240" y="115"/>
                    <a:pt x="244" y="124"/>
                  </a:cubicBezTo>
                  <a:cubicBezTo>
                    <a:pt x="245" y="129"/>
                    <a:pt x="239" y="126"/>
                    <a:pt x="236" y="127"/>
                  </a:cubicBezTo>
                  <a:cubicBezTo>
                    <a:pt x="231" y="130"/>
                    <a:pt x="231" y="138"/>
                    <a:pt x="230" y="142"/>
                  </a:cubicBezTo>
                  <a:cubicBezTo>
                    <a:pt x="228" y="155"/>
                    <a:pt x="226" y="170"/>
                    <a:pt x="229" y="183"/>
                  </a:cubicBezTo>
                  <a:cubicBezTo>
                    <a:pt x="233" y="194"/>
                    <a:pt x="238" y="203"/>
                    <a:pt x="250" y="204"/>
                  </a:cubicBezTo>
                  <a:cubicBezTo>
                    <a:pt x="254" y="204"/>
                    <a:pt x="256" y="203"/>
                    <a:pt x="257" y="207"/>
                  </a:cubicBezTo>
                  <a:cubicBezTo>
                    <a:pt x="258" y="212"/>
                    <a:pt x="257" y="219"/>
                    <a:pt x="257" y="224"/>
                  </a:cubicBezTo>
                  <a:cubicBezTo>
                    <a:pt x="257" y="235"/>
                    <a:pt x="258" y="245"/>
                    <a:pt x="263" y="254"/>
                  </a:cubicBezTo>
                  <a:cubicBezTo>
                    <a:pt x="266" y="259"/>
                    <a:pt x="269" y="263"/>
                    <a:pt x="269" y="269"/>
                  </a:cubicBezTo>
                  <a:cubicBezTo>
                    <a:pt x="268" y="274"/>
                    <a:pt x="268" y="278"/>
                    <a:pt x="268" y="283"/>
                  </a:cubicBezTo>
                  <a:cubicBezTo>
                    <a:pt x="268" y="293"/>
                    <a:pt x="268" y="304"/>
                    <a:pt x="268" y="314"/>
                  </a:cubicBezTo>
                  <a:cubicBezTo>
                    <a:pt x="268" y="323"/>
                    <a:pt x="270" y="334"/>
                    <a:pt x="261" y="340"/>
                  </a:cubicBezTo>
                  <a:cubicBezTo>
                    <a:pt x="257" y="343"/>
                    <a:pt x="252" y="346"/>
                    <a:pt x="246" y="348"/>
                  </a:cubicBezTo>
                  <a:cubicBezTo>
                    <a:pt x="242" y="350"/>
                    <a:pt x="238" y="350"/>
                    <a:pt x="234" y="352"/>
                  </a:cubicBezTo>
                  <a:cubicBezTo>
                    <a:pt x="223" y="359"/>
                    <a:pt x="216" y="369"/>
                    <a:pt x="204" y="374"/>
                  </a:cubicBezTo>
                  <a:cubicBezTo>
                    <a:pt x="188" y="382"/>
                    <a:pt x="173" y="392"/>
                    <a:pt x="157" y="400"/>
                  </a:cubicBezTo>
                  <a:cubicBezTo>
                    <a:pt x="138" y="412"/>
                    <a:pt x="115" y="413"/>
                    <a:pt x="96" y="426"/>
                  </a:cubicBezTo>
                  <a:cubicBezTo>
                    <a:pt x="76" y="439"/>
                    <a:pt x="66" y="460"/>
                    <a:pt x="61" y="482"/>
                  </a:cubicBezTo>
                  <a:cubicBezTo>
                    <a:pt x="57" y="497"/>
                    <a:pt x="53" y="511"/>
                    <a:pt x="50" y="526"/>
                  </a:cubicBezTo>
                  <a:cubicBezTo>
                    <a:pt x="44" y="565"/>
                    <a:pt x="38" y="605"/>
                    <a:pt x="33" y="644"/>
                  </a:cubicBezTo>
                  <a:cubicBezTo>
                    <a:pt x="28" y="681"/>
                    <a:pt x="25" y="719"/>
                    <a:pt x="21" y="757"/>
                  </a:cubicBezTo>
                  <a:cubicBezTo>
                    <a:pt x="19" y="777"/>
                    <a:pt x="18" y="797"/>
                    <a:pt x="16" y="817"/>
                  </a:cubicBezTo>
                  <a:cubicBezTo>
                    <a:pt x="14" y="842"/>
                    <a:pt x="9" y="868"/>
                    <a:pt x="7" y="893"/>
                  </a:cubicBezTo>
                  <a:cubicBezTo>
                    <a:pt x="4" y="916"/>
                    <a:pt x="6" y="939"/>
                    <a:pt x="5" y="962"/>
                  </a:cubicBezTo>
                  <a:cubicBezTo>
                    <a:pt x="5" y="972"/>
                    <a:pt x="4" y="982"/>
                    <a:pt x="4" y="992"/>
                  </a:cubicBezTo>
                  <a:cubicBezTo>
                    <a:pt x="4" y="997"/>
                    <a:pt x="5" y="1002"/>
                    <a:pt x="4" y="1007"/>
                  </a:cubicBezTo>
                  <a:cubicBezTo>
                    <a:pt x="4" y="1016"/>
                    <a:pt x="2" y="1024"/>
                    <a:pt x="3" y="1032"/>
                  </a:cubicBezTo>
                  <a:cubicBezTo>
                    <a:pt x="3" y="1041"/>
                    <a:pt x="9" y="1051"/>
                    <a:pt x="7" y="1059"/>
                  </a:cubicBezTo>
                  <a:cubicBezTo>
                    <a:pt x="4" y="1069"/>
                    <a:pt x="8" y="1083"/>
                    <a:pt x="10" y="1094"/>
                  </a:cubicBezTo>
                  <a:cubicBezTo>
                    <a:pt x="12" y="1105"/>
                    <a:pt x="17" y="1115"/>
                    <a:pt x="8" y="1125"/>
                  </a:cubicBezTo>
                  <a:cubicBezTo>
                    <a:pt x="4" y="1129"/>
                    <a:pt x="3" y="1134"/>
                    <a:pt x="3" y="1140"/>
                  </a:cubicBezTo>
                  <a:cubicBezTo>
                    <a:pt x="3" y="1143"/>
                    <a:pt x="3" y="1146"/>
                    <a:pt x="3" y="1150"/>
                  </a:cubicBezTo>
                  <a:cubicBezTo>
                    <a:pt x="4" y="1153"/>
                    <a:pt x="8" y="1158"/>
                    <a:pt x="7" y="1161"/>
                  </a:cubicBezTo>
                  <a:cubicBezTo>
                    <a:pt x="5" y="1167"/>
                    <a:pt x="0" y="1172"/>
                    <a:pt x="4" y="1179"/>
                  </a:cubicBezTo>
                  <a:cubicBezTo>
                    <a:pt x="8" y="1185"/>
                    <a:pt x="14" y="1183"/>
                    <a:pt x="19" y="1186"/>
                  </a:cubicBezTo>
                  <a:cubicBezTo>
                    <a:pt x="22" y="1188"/>
                    <a:pt x="15" y="1195"/>
                    <a:pt x="14" y="1198"/>
                  </a:cubicBezTo>
                  <a:cubicBezTo>
                    <a:pt x="13" y="1204"/>
                    <a:pt x="14" y="1210"/>
                    <a:pt x="15" y="1215"/>
                  </a:cubicBezTo>
                  <a:cubicBezTo>
                    <a:pt x="16" y="1220"/>
                    <a:pt x="12" y="1220"/>
                    <a:pt x="12" y="1223"/>
                  </a:cubicBezTo>
                  <a:cubicBezTo>
                    <a:pt x="13" y="1227"/>
                    <a:pt x="16" y="1229"/>
                    <a:pt x="16" y="1233"/>
                  </a:cubicBezTo>
                  <a:cubicBezTo>
                    <a:pt x="17" y="1245"/>
                    <a:pt x="16" y="1256"/>
                    <a:pt x="14" y="1267"/>
                  </a:cubicBezTo>
                  <a:cubicBezTo>
                    <a:pt x="13" y="1275"/>
                    <a:pt x="20" y="1284"/>
                    <a:pt x="22" y="1291"/>
                  </a:cubicBezTo>
                  <a:cubicBezTo>
                    <a:pt x="26" y="1302"/>
                    <a:pt x="29" y="1313"/>
                    <a:pt x="34" y="1324"/>
                  </a:cubicBezTo>
                  <a:cubicBezTo>
                    <a:pt x="41" y="1343"/>
                    <a:pt x="57" y="1349"/>
                    <a:pt x="76" y="1355"/>
                  </a:cubicBezTo>
                  <a:cubicBezTo>
                    <a:pt x="80" y="1356"/>
                    <a:pt x="88" y="1359"/>
                    <a:pt x="92" y="1358"/>
                  </a:cubicBezTo>
                  <a:cubicBezTo>
                    <a:pt x="96" y="1357"/>
                    <a:pt x="98" y="1357"/>
                    <a:pt x="102" y="1358"/>
                  </a:cubicBezTo>
                  <a:cubicBezTo>
                    <a:pt x="109" y="1359"/>
                    <a:pt x="107" y="1373"/>
                    <a:pt x="108" y="1379"/>
                  </a:cubicBezTo>
                  <a:cubicBezTo>
                    <a:pt x="111" y="1404"/>
                    <a:pt x="115" y="1429"/>
                    <a:pt x="120" y="1453"/>
                  </a:cubicBezTo>
                  <a:cubicBezTo>
                    <a:pt x="124" y="1473"/>
                    <a:pt x="131" y="1492"/>
                    <a:pt x="135" y="1512"/>
                  </a:cubicBezTo>
                  <a:cubicBezTo>
                    <a:pt x="138" y="1532"/>
                    <a:pt x="139" y="1553"/>
                    <a:pt x="140" y="1573"/>
                  </a:cubicBezTo>
                  <a:cubicBezTo>
                    <a:pt x="143" y="1647"/>
                    <a:pt x="140" y="1720"/>
                    <a:pt x="145" y="1793"/>
                  </a:cubicBezTo>
                  <a:cubicBezTo>
                    <a:pt x="150" y="1860"/>
                    <a:pt x="153" y="1926"/>
                    <a:pt x="157" y="1992"/>
                  </a:cubicBezTo>
                  <a:cubicBezTo>
                    <a:pt x="158" y="2011"/>
                    <a:pt x="159" y="2029"/>
                    <a:pt x="159" y="2048"/>
                  </a:cubicBezTo>
                  <a:cubicBezTo>
                    <a:pt x="159" y="2053"/>
                    <a:pt x="160" y="2057"/>
                    <a:pt x="160" y="2062"/>
                  </a:cubicBezTo>
                  <a:cubicBezTo>
                    <a:pt x="160" y="2077"/>
                    <a:pt x="164" y="2090"/>
                    <a:pt x="167" y="2105"/>
                  </a:cubicBezTo>
                  <a:cubicBezTo>
                    <a:pt x="170" y="2114"/>
                    <a:pt x="165" y="2124"/>
                    <a:pt x="169" y="2133"/>
                  </a:cubicBezTo>
                  <a:cubicBezTo>
                    <a:pt x="171" y="2138"/>
                    <a:pt x="173" y="2140"/>
                    <a:pt x="173" y="2144"/>
                  </a:cubicBezTo>
                  <a:cubicBezTo>
                    <a:pt x="175" y="2162"/>
                    <a:pt x="176" y="2179"/>
                    <a:pt x="179" y="2196"/>
                  </a:cubicBezTo>
                  <a:cubicBezTo>
                    <a:pt x="180" y="2202"/>
                    <a:pt x="180" y="2210"/>
                    <a:pt x="184" y="2216"/>
                  </a:cubicBezTo>
                  <a:cubicBezTo>
                    <a:pt x="187" y="2221"/>
                    <a:pt x="192" y="2216"/>
                    <a:pt x="196" y="2217"/>
                  </a:cubicBezTo>
                  <a:cubicBezTo>
                    <a:pt x="205" y="2218"/>
                    <a:pt x="183" y="2238"/>
                    <a:pt x="183" y="2239"/>
                  </a:cubicBezTo>
                  <a:cubicBezTo>
                    <a:pt x="172" y="2249"/>
                    <a:pt x="165" y="2261"/>
                    <a:pt x="151" y="2268"/>
                  </a:cubicBezTo>
                  <a:cubicBezTo>
                    <a:pt x="142" y="2273"/>
                    <a:pt x="128" y="2275"/>
                    <a:pt x="124" y="2287"/>
                  </a:cubicBezTo>
                  <a:cubicBezTo>
                    <a:pt x="123" y="2291"/>
                    <a:pt x="125" y="2298"/>
                    <a:pt x="120" y="2301"/>
                  </a:cubicBezTo>
                  <a:cubicBezTo>
                    <a:pt x="117" y="2303"/>
                    <a:pt x="111" y="2303"/>
                    <a:pt x="111" y="2308"/>
                  </a:cubicBezTo>
                  <a:cubicBezTo>
                    <a:pt x="112" y="2315"/>
                    <a:pt x="117" y="2315"/>
                    <a:pt x="122" y="2316"/>
                  </a:cubicBezTo>
                  <a:cubicBezTo>
                    <a:pt x="128" y="2316"/>
                    <a:pt x="133" y="2318"/>
                    <a:pt x="138" y="2320"/>
                  </a:cubicBezTo>
                  <a:cubicBezTo>
                    <a:pt x="157" y="2323"/>
                    <a:pt x="177" y="2323"/>
                    <a:pt x="197" y="2323"/>
                  </a:cubicBezTo>
                  <a:cubicBezTo>
                    <a:pt x="215" y="2323"/>
                    <a:pt x="233" y="2322"/>
                    <a:pt x="251" y="2320"/>
                  </a:cubicBezTo>
                  <a:cubicBezTo>
                    <a:pt x="260" y="2320"/>
                    <a:pt x="271" y="2320"/>
                    <a:pt x="273" y="2309"/>
                  </a:cubicBezTo>
                  <a:cubicBezTo>
                    <a:pt x="275" y="2299"/>
                    <a:pt x="277" y="2294"/>
                    <a:pt x="287" y="2298"/>
                  </a:cubicBezTo>
                  <a:cubicBezTo>
                    <a:pt x="298" y="2302"/>
                    <a:pt x="305" y="2301"/>
                    <a:pt x="316" y="2298"/>
                  </a:cubicBezTo>
                  <a:cubicBezTo>
                    <a:pt x="323" y="2295"/>
                    <a:pt x="344" y="2293"/>
                    <a:pt x="343" y="2282"/>
                  </a:cubicBezTo>
                  <a:cubicBezTo>
                    <a:pt x="342" y="2275"/>
                    <a:pt x="342" y="2268"/>
                    <a:pt x="342" y="2262"/>
                  </a:cubicBezTo>
                  <a:cubicBezTo>
                    <a:pt x="342" y="2257"/>
                    <a:pt x="343" y="2250"/>
                    <a:pt x="341" y="2246"/>
                  </a:cubicBezTo>
                  <a:cubicBezTo>
                    <a:pt x="339" y="2243"/>
                    <a:pt x="335" y="2244"/>
                    <a:pt x="334" y="2243"/>
                  </a:cubicBezTo>
                  <a:cubicBezTo>
                    <a:pt x="332" y="2239"/>
                    <a:pt x="334" y="2230"/>
                    <a:pt x="334" y="2225"/>
                  </a:cubicBezTo>
                  <a:cubicBezTo>
                    <a:pt x="334" y="2221"/>
                    <a:pt x="334" y="2215"/>
                    <a:pt x="332" y="2211"/>
                  </a:cubicBezTo>
                  <a:cubicBezTo>
                    <a:pt x="330" y="2207"/>
                    <a:pt x="333" y="2204"/>
                    <a:pt x="335" y="2199"/>
                  </a:cubicBezTo>
                  <a:cubicBezTo>
                    <a:pt x="337" y="2194"/>
                    <a:pt x="335" y="2188"/>
                    <a:pt x="334" y="2183"/>
                  </a:cubicBezTo>
                  <a:cubicBezTo>
                    <a:pt x="333" y="2175"/>
                    <a:pt x="334" y="2167"/>
                    <a:pt x="333" y="2159"/>
                  </a:cubicBezTo>
                  <a:cubicBezTo>
                    <a:pt x="332" y="2142"/>
                    <a:pt x="331" y="2124"/>
                    <a:pt x="330" y="2106"/>
                  </a:cubicBezTo>
                  <a:cubicBezTo>
                    <a:pt x="328" y="2086"/>
                    <a:pt x="326" y="2067"/>
                    <a:pt x="324" y="2047"/>
                  </a:cubicBezTo>
                  <a:cubicBezTo>
                    <a:pt x="321" y="2027"/>
                    <a:pt x="323" y="2006"/>
                    <a:pt x="323" y="1985"/>
                  </a:cubicBezTo>
                  <a:cubicBezTo>
                    <a:pt x="322" y="1966"/>
                    <a:pt x="321" y="1947"/>
                    <a:pt x="319" y="1928"/>
                  </a:cubicBezTo>
                  <a:cubicBezTo>
                    <a:pt x="317" y="1902"/>
                    <a:pt x="318" y="1877"/>
                    <a:pt x="316" y="1852"/>
                  </a:cubicBezTo>
                  <a:cubicBezTo>
                    <a:pt x="313" y="1824"/>
                    <a:pt x="309" y="1796"/>
                    <a:pt x="298" y="1770"/>
                  </a:cubicBezTo>
                  <a:cubicBezTo>
                    <a:pt x="294" y="1759"/>
                    <a:pt x="290" y="1752"/>
                    <a:pt x="289" y="1740"/>
                  </a:cubicBezTo>
                  <a:cubicBezTo>
                    <a:pt x="288" y="1729"/>
                    <a:pt x="290" y="1718"/>
                    <a:pt x="289" y="1706"/>
                  </a:cubicBezTo>
                  <a:cubicBezTo>
                    <a:pt x="287" y="1683"/>
                    <a:pt x="283" y="1661"/>
                    <a:pt x="286" y="1638"/>
                  </a:cubicBezTo>
                  <a:cubicBezTo>
                    <a:pt x="289" y="1609"/>
                    <a:pt x="292" y="1580"/>
                    <a:pt x="296" y="1552"/>
                  </a:cubicBezTo>
                  <a:cubicBezTo>
                    <a:pt x="302" y="1520"/>
                    <a:pt x="305" y="1488"/>
                    <a:pt x="309" y="1456"/>
                  </a:cubicBezTo>
                  <a:cubicBezTo>
                    <a:pt x="312" y="1435"/>
                    <a:pt x="315" y="1415"/>
                    <a:pt x="319" y="1394"/>
                  </a:cubicBezTo>
                  <a:cubicBezTo>
                    <a:pt x="320" y="1384"/>
                    <a:pt x="318" y="1375"/>
                    <a:pt x="319" y="1365"/>
                  </a:cubicBezTo>
                  <a:cubicBezTo>
                    <a:pt x="320" y="1355"/>
                    <a:pt x="323" y="1345"/>
                    <a:pt x="322" y="1335"/>
                  </a:cubicBezTo>
                  <a:cubicBezTo>
                    <a:pt x="322" y="1326"/>
                    <a:pt x="322" y="1318"/>
                    <a:pt x="325" y="1309"/>
                  </a:cubicBezTo>
                  <a:cubicBezTo>
                    <a:pt x="327" y="1304"/>
                    <a:pt x="329" y="1292"/>
                    <a:pt x="332" y="1289"/>
                  </a:cubicBezTo>
                  <a:cubicBezTo>
                    <a:pt x="332" y="1290"/>
                    <a:pt x="336" y="1293"/>
                    <a:pt x="337" y="1293"/>
                  </a:cubicBezTo>
                  <a:cubicBezTo>
                    <a:pt x="341" y="1295"/>
                    <a:pt x="343" y="1295"/>
                    <a:pt x="344" y="1300"/>
                  </a:cubicBezTo>
                  <a:cubicBezTo>
                    <a:pt x="347" y="1311"/>
                    <a:pt x="349" y="1323"/>
                    <a:pt x="352" y="1334"/>
                  </a:cubicBezTo>
                  <a:cubicBezTo>
                    <a:pt x="357" y="1354"/>
                    <a:pt x="359" y="1375"/>
                    <a:pt x="361" y="1396"/>
                  </a:cubicBezTo>
                  <a:cubicBezTo>
                    <a:pt x="365" y="1433"/>
                    <a:pt x="372" y="1470"/>
                    <a:pt x="376" y="1507"/>
                  </a:cubicBezTo>
                  <a:cubicBezTo>
                    <a:pt x="378" y="1526"/>
                    <a:pt x="381" y="1544"/>
                    <a:pt x="384" y="1561"/>
                  </a:cubicBezTo>
                  <a:cubicBezTo>
                    <a:pt x="388" y="1578"/>
                    <a:pt x="390" y="1597"/>
                    <a:pt x="396" y="1613"/>
                  </a:cubicBezTo>
                  <a:cubicBezTo>
                    <a:pt x="404" y="1633"/>
                    <a:pt x="411" y="1652"/>
                    <a:pt x="415" y="1674"/>
                  </a:cubicBezTo>
                  <a:cubicBezTo>
                    <a:pt x="418" y="1695"/>
                    <a:pt x="422" y="1715"/>
                    <a:pt x="424" y="1736"/>
                  </a:cubicBezTo>
                  <a:cubicBezTo>
                    <a:pt x="429" y="1768"/>
                    <a:pt x="430" y="1800"/>
                    <a:pt x="433" y="1832"/>
                  </a:cubicBezTo>
                  <a:cubicBezTo>
                    <a:pt x="436" y="1867"/>
                    <a:pt x="440" y="1901"/>
                    <a:pt x="443" y="1936"/>
                  </a:cubicBezTo>
                  <a:cubicBezTo>
                    <a:pt x="447" y="1970"/>
                    <a:pt x="451" y="2004"/>
                    <a:pt x="455" y="2039"/>
                  </a:cubicBezTo>
                  <a:cubicBezTo>
                    <a:pt x="458" y="2067"/>
                    <a:pt x="457" y="2096"/>
                    <a:pt x="459" y="2124"/>
                  </a:cubicBezTo>
                  <a:cubicBezTo>
                    <a:pt x="460" y="2144"/>
                    <a:pt x="468" y="2163"/>
                    <a:pt x="471" y="2183"/>
                  </a:cubicBezTo>
                  <a:cubicBezTo>
                    <a:pt x="472" y="2192"/>
                    <a:pt x="471" y="2201"/>
                    <a:pt x="472" y="2210"/>
                  </a:cubicBezTo>
                  <a:cubicBezTo>
                    <a:pt x="472" y="2218"/>
                    <a:pt x="479" y="2223"/>
                    <a:pt x="478" y="2230"/>
                  </a:cubicBezTo>
                  <a:cubicBezTo>
                    <a:pt x="477" y="2234"/>
                    <a:pt x="478" y="2238"/>
                    <a:pt x="477" y="2243"/>
                  </a:cubicBezTo>
                  <a:cubicBezTo>
                    <a:pt x="477" y="2246"/>
                    <a:pt x="473" y="2245"/>
                    <a:pt x="471" y="2246"/>
                  </a:cubicBezTo>
                  <a:cubicBezTo>
                    <a:pt x="469" y="2248"/>
                    <a:pt x="469" y="2256"/>
                    <a:pt x="469" y="2259"/>
                  </a:cubicBezTo>
                  <a:cubicBezTo>
                    <a:pt x="468" y="2266"/>
                    <a:pt x="468" y="2274"/>
                    <a:pt x="468" y="2282"/>
                  </a:cubicBezTo>
                  <a:cubicBezTo>
                    <a:pt x="467" y="2289"/>
                    <a:pt x="468" y="2295"/>
                    <a:pt x="476" y="2298"/>
                  </a:cubicBezTo>
                  <a:cubicBezTo>
                    <a:pt x="480" y="2300"/>
                    <a:pt x="484" y="2303"/>
                    <a:pt x="489" y="2304"/>
                  </a:cubicBezTo>
                  <a:cubicBezTo>
                    <a:pt x="491" y="2305"/>
                    <a:pt x="497" y="2301"/>
                    <a:pt x="498" y="2302"/>
                  </a:cubicBezTo>
                  <a:cubicBezTo>
                    <a:pt x="501" y="2305"/>
                    <a:pt x="488" y="2317"/>
                    <a:pt x="497" y="2323"/>
                  </a:cubicBezTo>
                  <a:cubicBezTo>
                    <a:pt x="505" y="2329"/>
                    <a:pt x="519" y="2329"/>
                    <a:pt x="529" y="2330"/>
                  </a:cubicBezTo>
                  <a:cubicBezTo>
                    <a:pt x="550" y="2334"/>
                    <a:pt x="572" y="2335"/>
                    <a:pt x="594" y="2334"/>
                  </a:cubicBezTo>
                  <a:cubicBezTo>
                    <a:pt x="607" y="2333"/>
                    <a:pt x="620" y="2331"/>
                    <a:pt x="634" y="2331"/>
                  </a:cubicBezTo>
                  <a:cubicBezTo>
                    <a:pt x="645" y="2331"/>
                    <a:pt x="640" y="2319"/>
                    <a:pt x="634" y="2314"/>
                  </a:cubicBezTo>
                  <a:cubicBezTo>
                    <a:pt x="631" y="2312"/>
                    <a:pt x="630" y="2313"/>
                    <a:pt x="630" y="2309"/>
                  </a:cubicBezTo>
                  <a:cubicBezTo>
                    <a:pt x="630" y="2304"/>
                    <a:pt x="630" y="2298"/>
                    <a:pt x="629" y="2293"/>
                  </a:cubicBezTo>
                  <a:cubicBezTo>
                    <a:pt x="625" y="2283"/>
                    <a:pt x="615" y="2275"/>
                    <a:pt x="611" y="2265"/>
                  </a:cubicBezTo>
                  <a:cubicBezTo>
                    <a:pt x="606" y="2255"/>
                    <a:pt x="597" y="2249"/>
                    <a:pt x="594" y="2238"/>
                  </a:cubicBezTo>
                  <a:cubicBezTo>
                    <a:pt x="590" y="2228"/>
                    <a:pt x="591" y="2228"/>
                    <a:pt x="597" y="2219"/>
                  </a:cubicBezTo>
                  <a:cubicBezTo>
                    <a:pt x="604" y="2208"/>
                    <a:pt x="600" y="2196"/>
                    <a:pt x="598" y="2184"/>
                  </a:cubicBezTo>
                  <a:cubicBezTo>
                    <a:pt x="596" y="2174"/>
                    <a:pt x="595" y="2163"/>
                    <a:pt x="594" y="2152"/>
                  </a:cubicBezTo>
                  <a:cubicBezTo>
                    <a:pt x="592" y="2132"/>
                    <a:pt x="584" y="2106"/>
                    <a:pt x="593" y="2087"/>
                  </a:cubicBezTo>
                  <a:cubicBezTo>
                    <a:pt x="599" y="2074"/>
                    <a:pt x="597" y="2057"/>
                    <a:pt x="598" y="2043"/>
                  </a:cubicBezTo>
                  <a:cubicBezTo>
                    <a:pt x="598" y="2006"/>
                    <a:pt x="597" y="1969"/>
                    <a:pt x="596" y="1932"/>
                  </a:cubicBezTo>
                  <a:cubicBezTo>
                    <a:pt x="596" y="1891"/>
                    <a:pt x="595" y="1851"/>
                    <a:pt x="591" y="1810"/>
                  </a:cubicBezTo>
                  <a:cubicBezTo>
                    <a:pt x="590" y="1792"/>
                    <a:pt x="587" y="1773"/>
                    <a:pt x="586" y="1754"/>
                  </a:cubicBezTo>
                  <a:cubicBezTo>
                    <a:pt x="584" y="1732"/>
                    <a:pt x="585" y="1711"/>
                    <a:pt x="582" y="1689"/>
                  </a:cubicBezTo>
                  <a:cubicBezTo>
                    <a:pt x="579" y="1666"/>
                    <a:pt x="583" y="1642"/>
                    <a:pt x="584" y="1619"/>
                  </a:cubicBezTo>
                  <a:cubicBezTo>
                    <a:pt x="584" y="1586"/>
                    <a:pt x="589" y="1553"/>
                    <a:pt x="592" y="1520"/>
                  </a:cubicBezTo>
                  <a:cubicBezTo>
                    <a:pt x="596" y="1465"/>
                    <a:pt x="584" y="1412"/>
                    <a:pt x="584" y="1357"/>
                  </a:cubicBezTo>
                  <a:cubicBezTo>
                    <a:pt x="584" y="1352"/>
                    <a:pt x="583" y="1341"/>
                    <a:pt x="588" y="1338"/>
                  </a:cubicBezTo>
                  <a:cubicBezTo>
                    <a:pt x="592" y="1336"/>
                    <a:pt x="597" y="1335"/>
                    <a:pt x="601" y="1332"/>
                  </a:cubicBezTo>
                  <a:cubicBezTo>
                    <a:pt x="607" y="1329"/>
                    <a:pt x="615" y="1328"/>
                    <a:pt x="619" y="1324"/>
                  </a:cubicBezTo>
                  <a:cubicBezTo>
                    <a:pt x="622" y="1321"/>
                    <a:pt x="624" y="1319"/>
                    <a:pt x="629" y="1319"/>
                  </a:cubicBezTo>
                  <a:cubicBezTo>
                    <a:pt x="635" y="1318"/>
                    <a:pt x="636" y="1314"/>
                    <a:pt x="637" y="1309"/>
                  </a:cubicBezTo>
                  <a:cubicBezTo>
                    <a:pt x="639" y="1305"/>
                    <a:pt x="641" y="1304"/>
                    <a:pt x="645" y="1302"/>
                  </a:cubicBezTo>
                  <a:cubicBezTo>
                    <a:pt x="651" y="1300"/>
                    <a:pt x="652" y="1293"/>
                    <a:pt x="654" y="1288"/>
                  </a:cubicBezTo>
                  <a:cubicBezTo>
                    <a:pt x="656" y="1278"/>
                    <a:pt x="657" y="1268"/>
                    <a:pt x="660" y="1258"/>
                  </a:cubicBezTo>
                  <a:cubicBezTo>
                    <a:pt x="663" y="1247"/>
                    <a:pt x="661" y="1232"/>
                    <a:pt x="661" y="1220"/>
                  </a:cubicBezTo>
                  <a:cubicBezTo>
                    <a:pt x="661" y="1218"/>
                    <a:pt x="659" y="1207"/>
                    <a:pt x="661" y="1207"/>
                  </a:cubicBezTo>
                  <a:cubicBezTo>
                    <a:pt x="663" y="1207"/>
                    <a:pt x="666" y="1205"/>
                    <a:pt x="665" y="1203"/>
                  </a:cubicBezTo>
                  <a:cubicBezTo>
                    <a:pt x="665" y="1200"/>
                    <a:pt x="663" y="1199"/>
                    <a:pt x="663" y="1196"/>
                  </a:cubicBezTo>
                  <a:cubicBezTo>
                    <a:pt x="664" y="1189"/>
                    <a:pt x="667" y="1185"/>
                    <a:pt x="667" y="1178"/>
                  </a:cubicBezTo>
                  <a:cubicBezTo>
                    <a:pt x="666" y="1173"/>
                    <a:pt x="666" y="1167"/>
                    <a:pt x="663" y="1164"/>
                  </a:cubicBezTo>
                  <a:cubicBezTo>
                    <a:pt x="659" y="1158"/>
                    <a:pt x="664" y="1160"/>
                    <a:pt x="667" y="1156"/>
                  </a:cubicBezTo>
                  <a:cubicBezTo>
                    <a:pt x="671" y="1150"/>
                    <a:pt x="670" y="1138"/>
                    <a:pt x="668" y="1131"/>
                  </a:cubicBezTo>
                  <a:cubicBezTo>
                    <a:pt x="667" y="1127"/>
                    <a:pt x="665" y="1127"/>
                    <a:pt x="663" y="1123"/>
                  </a:cubicBezTo>
                  <a:cubicBezTo>
                    <a:pt x="661" y="1119"/>
                    <a:pt x="667" y="1112"/>
                    <a:pt x="669" y="1109"/>
                  </a:cubicBezTo>
                  <a:cubicBezTo>
                    <a:pt x="671" y="1103"/>
                    <a:pt x="673" y="1096"/>
                    <a:pt x="671" y="1089"/>
                  </a:cubicBezTo>
                  <a:cubicBezTo>
                    <a:pt x="670" y="1082"/>
                    <a:pt x="664" y="1076"/>
                    <a:pt x="667" y="1068"/>
                  </a:cubicBezTo>
                  <a:cubicBezTo>
                    <a:pt x="670" y="1062"/>
                    <a:pt x="674" y="1058"/>
                    <a:pt x="675" y="1052"/>
                  </a:cubicBezTo>
                  <a:cubicBezTo>
                    <a:pt x="676" y="1046"/>
                    <a:pt x="676" y="1041"/>
                    <a:pt x="676" y="1035"/>
                  </a:cubicBezTo>
                  <a:cubicBezTo>
                    <a:pt x="676" y="1022"/>
                    <a:pt x="680" y="1011"/>
                    <a:pt x="676" y="998"/>
                  </a:cubicBezTo>
                  <a:moveTo>
                    <a:pt x="95" y="1318"/>
                  </a:moveTo>
                  <a:cubicBezTo>
                    <a:pt x="91" y="1319"/>
                    <a:pt x="87" y="1323"/>
                    <a:pt x="86" y="1318"/>
                  </a:cubicBezTo>
                  <a:cubicBezTo>
                    <a:pt x="85" y="1310"/>
                    <a:pt x="85" y="1301"/>
                    <a:pt x="82" y="1294"/>
                  </a:cubicBezTo>
                  <a:cubicBezTo>
                    <a:pt x="80" y="1292"/>
                    <a:pt x="82" y="1291"/>
                    <a:pt x="83" y="1290"/>
                  </a:cubicBezTo>
                  <a:cubicBezTo>
                    <a:pt x="84" y="1286"/>
                    <a:pt x="81" y="1281"/>
                    <a:pt x="81" y="1278"/>
                  </a:cubicBezTo>
                  <a:cubicBezTo>
                    <a:pt x="80" y="1272"/>
                    <a:pt x="79" y="1266"/>
                    <a:pt x="86" y="1265"/>
                  </a:cubicBezTo>
                  <a:cubicBezTo>
                    <a:pt x="87" y="1265"/>
                    <a:pt x="94" y="1260"/>
                    <a:pt x="95" y="1262"/>
                  </a:cubicBezTo>
                  <a:cubicBezTo>
                    <a:pt x="98" y="1267"/>
                    <a:pt x="96" y="1278"/>
                    <a:pt x="96" y="1283"/>
                  </a:cubicBezTo>
                  <a:cubicBezTo>
                    <a:pt x="97" y="1291"/>
                    <a:pt x="97" y="1299"/>
                    <a:pt x="98" y="1307"/>
                  </a:cubicBezTo>
                  <a:cubicBezTo>
                    <a:pt x="99" y="1313"/>
                    <a:pt x="102" y="1316"/>
                    <a:pt x="95" y="1318"/>
                  </a:cubicBezTo>
                  <a:moveTo>
                    <a:pt x="146" y="764"/>
                  </a:moveTo>
                  <a:cubicBezTo>
                    <a:pt x="146" y="772"/>
                    <a:pt x="143" y="781"/>
                    <a:pt x="142" y="790"/>
                  </a:cubicBezTo>
                  <a:cubicBezTo>
                    <a:pt x="141" y="800"/>
                    <a:pt x="143" y="810"/>
                    <a:pt x="145" y="821"/>
                  </a:cubicBezTo>
                  <a:cubicBezTo>
                    <a:pt x="146" y="828"/>
                    <a:pt x="147" y="836"/>
                    <a:pt x="145" y="844"/>
                  </a:cubicBezTo>
                  <a:cubicBezTo>
                    <a:pt x="144" y="853"/>
                    <a:pt x="140" y="862"/>
                    <a:pt x="139" y="872"/>
                  </a:cubicBezTo>
                  <a:cubicBezTo>
                    <a:pt x="139" y="882"/>
                    <a:pt x="139" y="893"/>
                    <a:pt x="138" y="904"/>
                  </a:cubicBezTo>
                  <a:cubicBezTo>
                    <a:pt x="137" y="913"/>
                    <a:pt x="134" y="922"/>
                    <a:pt x="135" y="931"/>
                  </a:cubicBezTo>
                  <a:cubicBezTo>
                    <a:pt x="135" y="940"/>
                    <a:pt x="142" y="948"/>
                    <a:pt x="139" y="958"/>
                  </a:cubicBezTo>
                  <a:cubicBezTo>
                    <a:pt x="137" y="969"/>
                    <a:pt x="131" y="980"/>
                    <a:pt x="128" y="991"/>
                  </a:cubicBezTo>
                  <a:cubicBezTo>
                    <a:pt x="125" y="999"/>
                    <a:pt x="123" y="1007"/>
                    <a:pt x="122" y="1016"/>
                  </a:cubicBezTo>
                  <a:cubicBezTo>
                    <a:pt x="120" y="1023"/>
                    <a:pt x="116" y="1029"/>
                    <a:pt x="114" y="1036"/>
                  </a:cubicBezTo>
                  <a:cubicBezTo>
                    <a:pt x="110" y="1050"/>
                    <a:pt x="108" y="1065"/>
                    <a:pt x="106" y="1080"/>
                  </a:cubicBezTo>
                  <a:cubicBezTo>
                    <a:pt x="104" y="1087"/>
                    <a:pt x="96" y="1090"/>
                    <a:pt x="104" y="1095"/>
                  </a:cubicBezTo>
                  <a:cubicBezTo>
                    <a:pt x="108" y="1099"/>
                    <a:pt x="104" y="1113"/>
                    <a:pt x="103" y="1118"/>
                  </a:cubicBezTo>
                  <a:cubicBezTo>
                    <a:pt x="103" y="1120"/>
                    <a:pt x="101" y="1141"/>
                    <a:pt x="99" y="1142"/>
                  </a:cubicBezTo>
                  <a:cubicBezTo>
                    <a:pt x="96" y="1142"/>
                    <a:pt x="91" y="1128"/>
                    <a:pt x="91" y="1125"/>
                  </a:cubicBezTo>
                  <a:cubicBezTo>
                    <a:pt x="91" y="1119"/>
                    <a:pt x="92" y="1114"/>
                    <a:pt x="93" y="1108"/>
                  </a:cubicBezTo>
                  <a:cubicBezTo>
                    <a:pt x="93" y="1104"/>
                    <a:pt x="91" y="1099"/>
                    <a:pt x="92" y="1095"/>
                  </a:cubicBezTo>
                  <a:cubicBezTo>
                    <a:pt x="98" y="1080"/>
                    <a:pt x="100" y="1065"/>
                    <a:pt x="104" y="1050"/>
                  </a:cubicBezTo>
                  <a:cubicBezTo>
                    <a:pt x="106" y="1042"/>
                    <a:pt x="108" y="1034"/>
                    <a:pt x="110" y="1026"/>
                  </a:cubicBezTo>
                  <a:cubicBezTo>
                    <a:pt x="112" y="1018"/>
                    <a:pt x="118" y="1008"/>
                    <a:pt x="117" y="1000"/>
                  </a:cubicBezTo>
                  <a:cubicBezTo>
                    <a:pt x="117" y="994"/>
                    <a:pt x="115" y="988"/>
                    <a:pt x="117" y="982"/>
                  </a:cubicBezTo>
                  <a:cubicBezTo>
                    <a:pt x="118" y="977"/>
                    <a:pt x="120" y="973"/>
                    <a:pt x="121" y="969"/>
                  </a:cubicBezTo>
                  <a:cubicBezTo>
                    <a:pt x="123" y="958"/>
                    <a:pt x="122" y="947"/>
                    <a:pt x="124" y="936"/>
                  </a:cubicBezTo>
                  <a:cubicBezTo>
                    <a:pt x="126" y="924"/>
                    <a:pt x="130" y="918"/>
                    <a:pt x="126" y="906"/>
                  </a:cubicBezTo>
                  <a:cubicBezTo>
                    <a:pt x="124" y="897"/>
                    <a:pt x="129" y="888"/>
                    <a:pt x="132" y="879"/>
                  </a:cubicBezTo>
                  <a:cubicBezTo>
                    <a:pt x="135" y="868"/>
                    <a:pt x="133" y="860"/>
                    <a:pt x="133" y="849"/>
                  </a:cubicBezTo>
                  <a:cubicBezTo>
                    <a:pt x="132" y="842"/>
                    <a:pt x="129" y="832"/>
                    <a:pt x="131" y="825"/>
                  </a:cubicBezTo>
                  <a:cubicBezTo>
                    <a:pt x="137" y="805"/>
                    <a:pt x="133" y="784"/>
                    <a:pt x="137" y="764"/>
                  </a:cubicBezTo>
                  <a:cubicBezTo>
                    <a:pt x="140" y="753"/>
                    <a:pt x="142" y="743"/>
                    <a:pt x="144" y="733"/>
                  </a:cubicBezTo>
                  <a:cubicBezTo>
                    <a:pt x="144" y="731"/>
                    <a:pt x="145" y="722"/>
                    <a:pt x="147" y="720"/>
                  </a:cubicBezTo>
                  <a:cubicBezTo>
                    <a:pt x="147" y="721"/>
                    <a:pt x="147" y="731"/>
                    <a:pt x="147" y="732"/>
                  </a:cubicBezTo>
                  <a:cubicBezTo>
                    <a:pt x="147" y="736"/>
                    <a:pt x="148" y="738"/>
                    <a:pt x="148" y="742"/>
                  </a:cubicBezTo>
                  <a:cubicBezTo>
                    <a:pt x="150" y="749"/>
                    <a:pt x="147" y="756"/>
                    <a:pt x="146" y="764"/>
                  </a:cubicBezTo>
                  <a:moveTo>
                    <a:pt x="565" y="1169"/>
                  </a:moveTo>
                  <a:cubicBezTo>
                    <a:pt x="567" y="1152"/>
                    <a:pt x="564" y="1133"/>
                    <a:pt x="562" y="1116"/>
                  </a:cubicBezTo>
                  <a:cubicBezTo>
                    <a:pt x="561" y="1109"/>
                    <a:pt x="557" y="1103"/>
                    <a:pt x="563" y="1097"/>
                  </a:cubicBezTo>
                  <a:cubicBezTo>
                    <a:pt x="565" y="1095"/>
                    <a:pt x="571" y="1093"/>
                    <a:pt x="567" y="1088"/>
                  </a:cubicBezTo>
                  <a:cubicBezTo>
                    <a:pt x="564" y="1085"/>
                    <a:pt x="562" y="1087"/>
                    <a:pt x="561" y="1083"/>
                  </a:cubicBezTo>
                  <a:cubicBezTo>
                    <a:pt x="555" y="1062"/>
                    <a:pt x="549" y="1042"/>
                    <a:pt x="546" y="1020"/>
                  </a:cubicBezTo>
                  <a:cubicBezTo>
                    <a:pt x="543" y="994"/>
                    <a:pt x="534" y="969"/>
                    <a:pt x="535" y="943"/>
                  </a:cubicBezTo>
                  <a:cubicBezTo>
                    <a:pt x="535" y="924"/>
                    <a:pt x="533" y="904"/>
                    <a:pt x="533" y="885"/>
                  </a:cubicBezTo>
                  <a:cubicBezTo>
                    <a:pt x="533" y="863"/>
                    <a:pt x="534" y="840"/>
                    <a:pt x="534" y="817"/>
                  </a:cubicBezTo>
                  <a:cubicBezTo>
                    <a:pt x="534" y="797"/>
                    <a:pt x="533" y="778"/>
                    <a:pt x="534" y="758"/>
                  </a:cubicBezTo>
                  <a:cubicBezTo>
                    <a:pt x="534" y="750"/>
                    <a:pt x="534" y="741"/>
                    <a:pt x="535" y="733"/>
                  </a:cubicBezTo>
                  <a:cubicBezTo>
                    <a:pt x="536" y="728"/>
                    <a:pt x="537" y="722"/>
                    <a:pt x="537" y="717"/>
                  </a:cubicBezTo>
                  <a:cubicBezTo>
                    <a:pt x="537" y="715"/>
                    <a:pt x="537" y="710"/>
                    <a:pt x="538" y="709"/>
                  </a:cubicBezTo>
                  <a:cubicBezTo>
                    <a:pt x="537" y="710"/>
                    <a:pt x="545" y="727"/>
                    <a:pt x="546" y="729"/>
                  </a:cubicBezTo>
                  <a:cubicBezTo>
                    <a:pt x="549" y="739"/>
                    <a:pt x="549" y="749"/>
                    <a:pt x="550" y="760"/>
                  </a:cubicBezTo>
                  <a:cubicBezTo>
                    <a:pt x="550" y="769"/>
                    <a:pt x="551" y="778"/>
                    <a:pt x="553" y="787"/>
                  </a:cubicBezTo>
                  <a:cubicBezTo>
                    <a:pt x="555" y="799"/>
                    <a:pt x="553" y="810"/>
                    <a:pt x="555" y="822"/>
                  </a:cubicBezTo>
                  <a:cubicBezTo>
                    <a:pt x="556" y="836"/>
                    <a:pt x="554" y="848"/>
                    <a:pt x="554" y="862"/>
                  </a:cubicBezTo>
                  <a:cubicBezTo>
                    <a:pt x="553" y="874"/>
                    <a:pt x="555" y="887"/>
                    <a:pt x="557" y="899"/>
                  </a:cubicBezTo>
                  <a:cubicBezTo>
                    <a:pt x="558" y="908"/>
                    <a:pt x="559" y="916"/>
                    <a:pt x="562" y="925"/>
                  </a:cubicBezTo>
                  <a:cubicBezTo>
                    <a:pt x="566" y="936"/>
                    <a:pt x="565" y="952"/>
                    <a:pt x="566" y="964"/>
                  </a:cubicBezTo>
                  <a:cubicBezTo>
                    <a:pt x="566" y="978"/>
                    <a:pt x="572" y="989"/>
                    <a:pt x="573" y="1003"/>
                  </a:cubicBezTo>
                  <a:cubicBezTo>
                    <a:pt x="575" y="1015"/>
                    <a:pt x="575" y="1027"/>
                    <a:pt x="577" y="1038"/>
                  </a:cubicBezTo>
                  <a:cubicBezTo>
                    <a:pt x="579" y="1047"/>
                    <a:pt x="577" y="1053"/>
                    <a:pt x="575" y="1062"/>
                  </a:cubicBezTo>
                  <a:cubicBezTo>
                    <a:pt x="574" y="1072"/>
                    <a:pt x="580" y="1081"/>
                    <a:pt x="578" y="1090"/>
                  </a:cubicBezTo>
                  <a:cubicBezTo>
                    <a:pt x="578" y="1097"/>
                    <a:pt x="576" y="1103"/>
                    <a:pt x="576" y="1109"/>
                  </a:cubicBezTo>
                  <a:cubicBezTo>
                    <a:pt x="576" y="1115"/>
                    <a:pt x="578" y="1122"/>
                    <a:pt x="576" y="1127"/>
                  </a:cubicBezTo>
                  <a:cubicBezTo>
                    <a:pt x="574" y="1134"/>
                    <a:pt x="574" y="1136"/>
                    <a:pt x="578" y="1142"/>
                  </a:cubicBezTo>
                  <a:cubicBezTo>
                    <a:pt x="580" y="1144"/>
                    <a:pt x="584" y="1147"/>
                    <a:pt x="583" y="1150"/>
                  </a:cubicBezTo>
                  <a:cubicBezTo>
                    <a:pt x="582" y="1154"/>
                    <a:pt x="580" y="1158"/>
                    <a:pt x="578" y="1161"/>
                  </a:cubicBezTo>
                  <a:cubicBezTo>
                    <a:pt x="577" y="1163"/>
                    <a:pt x="571" y="1167"/>
                    <a:pt x="571" y="1167"/>
                  </a:cubicBezTo>
                  <a:cubicBezTo>
                    <a:pt x="571" y="1171"/>
                    <a:pt x="572" y="1173"/>
                    <a:pt x="568" y="1177"/>
                  </a:cubicBezTo>
                  <a:cubicBezTo>
                    <a:pt x="564" y="1180"/>
                    <a:pt x="565" y="1171"/>
                    <a:pt x="565" y="1169"/>
                  </a:cubicBezTo>
                  <a:moveTo>
                    <a:pt x="584" y="1252"/>
                  </a:moveTo>
                  <a:cubicBezTo>
                    <a:pt x="580" y="1259"/>
                    <a:pt x="583" y="1265"/>
                    <a:pt x="583" y="1271"/>
                  </a:cubicBezTo>
                  <a:cubicBezTo>
                    <a:pt x="583" y="1273"/>
                    <a:pt x="578" y="1289"/>
                    <a:pt x="579" y="1290"/>
                  </a:cubicBezTo>
                  <a:cubicBezTo>
                    <a:pt x="576" y="1288"/>
                    <a:pt x="576" y="1279"/>
                    <a:pt x="575" y="1276"/>
                  </a:cubicBezTo>
                  <a:cubicBezTo>
                    <a:pt x="574" y="1271"/>
                    <a:pt x="572" y="1266"/>
                    <a:pt x="572" y="1261"/>
                  </a:cubicBezTo>
                  <a:cubicBezTo>
                    <a:pt x="571" y="1257"/>
                    <a:pt x="569" y="1244"/>
                    <a:pt x="575" y="1242"/>
                  </a:cubicBezTo>
                  <a:cubicBezTo>
                    <a:pt x="577" y="1241"/>
                    <a:pt x="585" y="1249"/>
                    <a:pt x="584" y="1252"/>
                  </a:cubicBezTo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428085" tIns="214043" rIns="428085" bIns="214043" numCol="1" anchor="t" anchorCtr="0" compatLnSpc="1">
              <a:prstTxWarp prst="textNoShape">
                <a:avLst/>
              </a:prstTxWarp>
            </a:bodyPr>
            <a:lstStyle/>
            <a:p>
              <a:pPr defTabSz="428085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554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398" name="Gruppieren 281">
              <a:extLst>
                <a:ext uri="{FF2B5EF4-FFF2-40B4-BE49-F238E27FC236}">
                  <a16:creationId xmlns:a16="http://schemas.microsoft.com/office/drawing/2014/main" id="{05BE8E52-D77D-40FC-8AEC-C44DE8F5DC4D}"/>
                </a:ext>
              </a:extLst>
            </p:cNvPr>
            <p:cNvGrpSpPr/>
            <p:nvPr/>
          </p:nvGrpSpPr>
          <p:grpSpPr>
            <a:xfrm>
              <a:off x="2739987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399" name="Freeform 156">
                <a:extLst>
                  <a:ext uri="{FF2B5EF4-FFF2-40B4-BE49-F238E27FC236}">
                    <a16:creationId xmlns:a16="http://schemas.microsoft.com/office/drawing/2014/main" id="{B05287B2-08A7-40F4-ABAE-95BD0B1E3A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00" name="Freeform 159">
                <a:extLst>
                  <a:ext uri="{FF2B5EF4-FFF2-40B4-BE49-F238E27FC236}">
                    <a16:creationId xmlns:a16="http://schemas.microsoft.com/office/drawing/2014/main" id="{6ED32B9C-D6A9-4FD8-975A-3409B8C6F6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01" name="Freeform 160">
                <a:extLst>
                  <a:ext uri="{FF2B5EF4-FFF2-40B4-BE49-F238E27FC236}">
                    <a16:creationId xmlns:a16="http://schemas.microsoft.com/office/drawing/2014/main" id="{35C91A08-9B86-4BC9-9FEC-9478CB8B52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02" name="Freeform 179">
                <a:extLst>
                  <a:ext uri="{FF2B5EF4-FFF2-40B4-BE49-F238E27FC236}">
                    <a16:creationId xmlns:a16="http://schemas.microsoft.com/office/drawing/2014/main" id="{D1DD9E35-CEAD-44DC-8581-3AAF516897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03" name="Freeform 180">
                <a:extLst>
                  <a:ext uri="{FF2B5EF4-FFF2-40B4-BE49-F238E27FC236}">
                    <a16:creationId xmlns:a16="http://schemas.microsoft.com/office/drawing/2014/main" id="{E8297C7A-379B-4D8A-B194-237CE79256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04" name="Freeform 181">
                <a:extLst>
                  <a:ext uri="{FF2B5EF4-FFF2-40B4-BE49-F238E27FC236}">
                    <a16:creationId xmlns:a16="http://schemas.microsoft.com/office/drawing/2014/main" id="{1E70D71B-51E8-45B3-8B23-A124CFCA7D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05" name="Freeform 182">
                <a:extLst>
                  <a:ext uri="{FF2B5EF4-FFF2-40B4-BE49-F238E27FC236}">
                    <a16:creationId xmlns:a16="http://schemas.microsoft.com/office/drawing/2014/main" id="{C01F039B-5DB5-4096-9668-08206BB0DD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06" name="Freeform 183">
                <a:extLst>
                  <a:ext uri="{FF2B5EF4-FFF2-40B4-BE49-F238E27FC236}">
                    <a16:creationId xmlns:a16="http://schemas.microsoft.com/office/drawing/2014/main" id="{2463723A-B9BC-40B8-955D-A1E5551BE3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07" name="Freeform 184">
                <a:extLst>
                  <a:ext uri="{FF2B5EF4-FFF2-40B4-BE49-F238E27FC236}">
                    <a16:creationId xmlns:a16="http://schemas.microsoft.com/office/drawing/2014/main" id="{E2CAC806-2351-4ECD-B5D7-A63558E717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08" name="Freeform 185">
                <a:extLst>
                  <a:ext uri="{FF2B5EF4-FFF2-40B4-BE49-F238E27FC236}">
                    <a16:creationId xmlns:a16="http://schemas.microsoft.com/office/drawing/2014/main" id="{84B81982-8DF8-4F4B-B9CF-08DFDFEE88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09" name="Freeform 186">
                <a:extLst>
                  <a:ext uri="{FF2B5EF4-FFF2-40B4-BE49-F238E27FC236}">
                    <a16:creationId xmlns:a16="http://schemas.microsoft.com/office/drawing/2014/main" id="{3FBD8340-18B5-4C85-9F2B-BC474A7B70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10" name="Freeform 187">
                <a:extLst>
                  <a:ext uri="{FF2B5EF4-FFF2-40B4-BE49-F238E27FC236}">
                    <a16:creationId xmlns:a16="http://schemas.microsoft.com/office/drawing/2014/main" id="{F8C1DD69-686A-48E9-BA03-F3446EC4A8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11" name="Freeform 157">
                <a:extLst>
                  <a:ext uri="{FF2B5EF4-FFF2-40B4-BE49-F238E27FC236}">
                    <a16:creationId xmlns:a16="http://schemas.microsoft.com/office/drawing/2014/main" id="{0E4B01B4-E9FA-4531-84FC-05947D54A7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12" name="Freeform 158">
                <a:extLst>
                  <a:ext uri="{FF2B5EF4-FFF2-40B4-BE49-F238E27FC236}">
                    <a16:creationId xmlns:a16="http://schemas.microsoft.com/office/drawing/2014/main" id="{4FF24FAD-2D15-4764-8E16-468714C0CD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13" name="Freeform 161">
                <a:extLst>
                  <a:ext uri="{FF2B5EF4-FFF2-40B4-BE49-F238E27FC236}">
                    <a16:creationId xmlns:a16="http://schemas.microsoft.com/office/drawing/2014/main" id="{A906CF3A-1AE6-4AAC-AEF6-8441B3854C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14" name="Freeform 162">
                <a:extLst>
                  <a:ext uri="{FF2B5EF4-FFF2-40B4-BE49-F238E27FC236}">
                    <a16:creationId xmlns:a16="http://schemas.microsoft.com/office/drawing/2014/main" id="{556DFC67-4D5B-42EB-A799-759C18EFD4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15" name="Freeform 163">
                <a:extLst>
                  <a:ext uri="{FF2B5EF4-FFF2-40B4-BE49-F238E27FC236}">
                    <a16:creationId xmlns:a16="http://schemas.microsoft.com/office/drawing/2014/main" id="{536DFA0D-686B-4CA7-A359-5E0228D849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16" name="Freeform 164">
                <a:extLst>
                  <a:ext uri="{FF2B5EF4-FFF2-40B4-BE49-F238E27FC236}">
                    <a16:creationId xmlns:a16="http://schemas.microsoft.com/office/drawing/2014/main" id="{FDF3FD75-3F27-42FB-B7DB-9A1ADCA7FF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17" name="Freeform 165">
                <a:extLst>
                  <a:ext uri="{FF2B5EF4-FFF2-40B4-BE49-F238E27FC236}">
                    <a16:creationId xmlns:a16="http://schemas.microsoft.com/office/drawing/2014/main" id="{B8D4D493-72A4-4C43-AD97-86868687B1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18" name="Freeform 166">
                <a:extLst>
                  <a:ext uri="{FF2B5EF4-FFF2-40B4-BE49-F238E27FC236}">
                    <a16:creationId xmlns:a16="http://schemas.microsoft.com/office/drawing/2014/main" id="{CE4E6D58-A545-4C74-A522-73566A0A2C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19" name="Freeform 167">
                <a:extLst>
                  <a:ext uri="{FF2B5EF4-FFF2-40B4-BE49-F238E27FC236}">
                    <a16:creationId xmlns:a16="http://schemas.microsoft.com/office/drawing/2014/main" id="{FF7F9AE0-9EC4-4973-A190-C4BEA64AF8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20" name="Freeform 168">
                <a:extLst>
                  <a:ext uri="{FF2B5EF4-FFF2-40B4-BE49-F238E27FC236}">
                    <a16:creationId xmlns:a16="http://schemas.microsoft.com/office/drawing/2014/main" id="{60E97123-88AA-413F-9CB1-ED4E96EBAA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21" name="Freeform 169">
                <a:extLst>
                  <a:ext uri="{FF2B5EF4-FFF2-40B4-BE49-F238E27FC236}">
                    <a16:creationId xmlns:a16="http://schemas.microsoft.com/office/drawing/2014/main" id="{1DF4D18D-5091-4BFC-A785-4D30E1BDAB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22" name="Freeform 170">
                <a:extLst>
                  <a:ext uri="{FF2B5EF4-FFF2-40B4-BE49-F238E27FC236}">
                    <a16:creationId xmlns:a16="http://schemas.microsoft.com/office/drawing/2014/main" id="{276F72D6-04C1-4F3F-B2BD-E26BF96932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23" name="Freeform 171">
                <a:extLst>
                  <a:ext uri="{FF2B5EF4-FFF2-40B4-BE49-F238E27FC236}">
                    <a16:creationId xmlns:a16="http://schemas.microsoft.com/office/drawing/2014/main" id="{AAA605B0-37AF-4E59-82B9-59712DF7A8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24" name="Freeform 172">
                <a:extLst>
                  <a:ext uri="{FF2B5EF4-FFF2-40B4-BE49-F238E27FC236}">
                    <a16:creationId xmlns:a16="http://schemas.microsoft.com/office/drawing/2014/main" id="{AE537FDF-C9F5-4A93-A9C5-128B4E674D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25" name="Freeform 173">
                <a:extLst>
                  <a:ext uri="{FF2B5EF4-FFF2-40B4-BE49-F238E27FC236}">
                    <a16:creationId xmlns:a16="http://schemas.microsoft.com/office/drawing/2014/main" id="{27A8A022-D92F-4795-B0FA-D9E68E4A9C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26" name="Freeform 174">
                <a:extLst>
                  <a:ext uri="{FF2B5EF4-FFF2-40B4-BE49-F238E27FC236}">
                    <a16:creationId xmlns:a16="http://schemas.microsoft.com/office/drawing/2014/main" id="{29B5E073-5974-449B-AAA4-0AC49FEFB1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27" name="Freeform 175">
                <a:extLst>
                  <a:ext uri="{FF2B5EF4-FFF2-40B4-BE49-F238E27FC236}">
                    <a16:creationId xmlns:a16="http://schemas.microsoft.com/office/drawing/2014/main" id="{7F39DF6D-3DD5-45D1-95CD-E8DCC7C78E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28" name="Freeform 176">
                <a:extLst>
                  <a:ext uri="{FF2B5EF4-FFF2-40B4-BE49-F238E27FC236}">
                    <a16:creationId xmlns:a16="http://schemas.microsoft.com/office/drawing/2014/main" id="{A3EB202F-47B1-49E0-A988-1AB68DB29B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29" name="Freeform 177">
                <a:extLst>
                  <a:ext uri="{FF2B5EF4-FFF2-40B4-BE49-F238E27FC236}">
                    <a16:creationId xmlns:a16="http://schemas.microsoft.com/office/drawing/2014/main" id="{A567D2A9-4932-41A8-A578-EA6BE102B6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30" name="Freeform 178">
                <a:extLst>
                  <a:ext uri="{FF2B5EF4-FFF2-40B4-BE49-F238E27FC236}">
                    <a16:creationId xmlns:a16="http://schemas.microsoft.com/office/drawing/2014/main" id="{95AC89F0-35E7-4DB5-8D22-D0E37525DC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31" name="Freeform 188">
                <a:extLst>
                  <a:ext uri="{FF2B5EF4-FFF2-40B4-BE49-F238E27FC236}">
                    <a16:creationId xmlns:a16="http://schemas.microsoft.com/office/drawing/2014/main" id="{1ACAC500-81D0-401C-835C-090B27CC1E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32" name="Freeform 103">
                <a:extLst>
                  <a:ext uri="{FF2B5EF4-FFF2-40B4-BE49-F238E27FC236}">
                    <a16:creationId xmlns:a16="http://schemas.microsoft.com/office/drawing/2014/main" id="{4A6C8D57-36D7-4FDE-A309-E4AF0479CA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33" name="Freeform 104">
                <a:extLst>
                  <a:ext uri="{FF2B5EF4-FFF2-40B4-BE49-F238E27FC236}">
                    <a16:creationId xmlns:a16="http://schemas.microsoft.com/office/drawing/2014/main" id="{7B7E9E03-C968-4E6B-9935-E90D487BAAB7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28085" tIns="214043" rIns="428085" bIns="214043" numCol="1" anchor="t" anchorCtr="0" compatLnSpc="1">
                <a:prstTxWarp prst="textNoShape">
                  <a:avLst/>
                </a:prstTxWarp>
              </a:bodyPr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554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sp>
        <p:nvSpPr>
          <p:cNvPr id="857" name="Rectangle 856">
            <a:extLst>
              <a:ext uri="{FF2B5EF4-FFF2-40B4-BE49-F238E27FC236}">
                <a16:creationId xmlns:a16="http://schemas.microsoft.com/office/drawing/2014/main" id="{5EF1F74E-48A7-497A-AF96-3EAFC2544269}"/>
              </a:ext>
            </a:extLst>
          </p:cNvPr>
          <p:cNvSpPr/>
          <p:nvPr/>
        </p:nvSpPr>
        <p:spPr>
          <a:xfrm>
            <a:off x="34112498" y="24042231"/>
            <a:ext cx="5718485" cy="18212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3745" b="1" dirty="0">
                <a:solidFill>
                  <a:srgbClr val="00B0F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Community</a:t>
            </a:r>
          </a:p>
          <a:p>
            <a:pPr lvl="0" algn="ctr">
              <a:defRPr/>
            </a:pPr>
            <a:r>
              <a:rPr lang="en-US" sz="3745" b="1" dirty="0">
                <a:solidFill>
                  <a:srgbClr val="00B0F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Of</a:t>
            </a:r>
          </a:p>
          <a:p>
            <a:pPr lvl="0" algn="ctr">
              <a:defRPr/>
            </a:pPr>
            <a:r>
              <a:rPr lang="en-US" sz="3745" b="1" dirty="0">
                <a:solidFill>
                  <a:srgbClr val="00B0F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Practices</a:t>
            </a:r>
          </a:p>
        </p:txBody>
      </p:sp>
      <p:sp>
        <p:nvSpPr>
          <p:cNvPr id="440" name="Rectangle 439">
            <a:extLst>
              <a:ext uri="{FF2B5EF4-FFF2-40B4-BE49-F238E27FC236}">
                <a16:creationId xmlns:a16="http://schemas.microsoft.com/office/drawing/2014/main" id="{E7B18F1C-5652-4185-91C1-F08D6475B568}"/>
              </a:ext>
            </a:extLst>
          </p:cNvPr>
          <p:cNvSpPr/>
          <p:nvPr/>
        </p:nvSpPr>
        <p:spPr>
          <a:xfrm>
            <a:off x="5987421" y="2673916"/>
            <a:ext cx="9696566" cy="12449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3745" b="1" dirty="0">
                <a:solidFill>
                  <a:schemeClr val="accent4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Enterprise</a:t>
            </a:r>
          </a:p>
          <a:p>
            <a:pPr lvl="0" algn="ctr">
              <a:defRPr/>
            </a:pPr>
            <a:r>
              <a:rPr lang="en-US" sz="3745" b="1" dirty="0">
                <a:solidFill>
                  <a:schemeClr val="accent4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&amp; Portfolio</a:t>
            </a:r>
          </a:p>
        </p:txBody>
      </p:sp>
      <p:sp>
        <p:nvSpPr>
          <p:cNvPr id="441" name="ZoneTexte 440">
            <a:extLst>
              <a:ext uri="{FF2B5EF4-FFF2-40B4-BE49-F238E27FC236}">
                <a16:creationId xmlns:a16="http://schemas.microsoft.com/office/drawing/2014/main" id="{63E1EC9C-FA22-45B6-81C5-E62BD821F709}"/>
              </a:ext>
            </a:extLst>
          </p:cNvPr>
          <p:cNvSpPr txBox="1"/>
          <p:nvPr/>
        </p:nvSpPr>
        <p:spPr>
          <a:xfrm>
            <a:off x="26832248" y="12451216"/>
            <a:ext cx="7244291" cy="30141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916" b="1" kern="0" dirty="0">
                <a:solidFill>
                  <a:srgbClr val="44546A"/>
                </a:solidFill>
                <a:latin typeface="Calibri"/>
              </a:rPr>
              <a:t>IT ECOSYSTEM </a:t>
            </a:r>
          </a:p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745" b="1" kern="0" dirty="0">
                <a:solidFill>
                  <a:srgbClr val="4BACC6"/>
                </a:solidFill>
                <a:latin typeface="Calibri"/>
              </a:rPr>
              <a:t>Assembly &amp; implement</a:t>
            </a:r>
          </a:p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745" kern="0" dirty="0">
                <a:solidFill>
                  <a:srgbClr val="44546A"/>
                </a:solidFill>
              </a:rPr>
              <a:t>MARKET WATCH</a:t>
            </a:r>
          </a:p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3745" kern="0" dirty="0">
              <a:solidFill>
                <a:srgbClr val="44546A"/>
              </a:solidFill>
            </a:endParaRPr>
          </a:p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745" kern="0" dirty="0">
                <a:solidFill>
                  <a:srgbClr val="44546A"/>
                </a:solidFill>
              </a:rPr>
              <a:t>SUPPLIER MANAGEMENT STRATEGY</a:t>
            </a:r>
          </a:p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3745" b="1" kern="0" dirty="0">
              <a:solidFill>
                <a:srgbClr val="1F497D"/>
              </a:solidFill>
              <a:latin typeface="Calibri"/>
            </a:endParaRPr>
          </a:p>
        </p:txBody>
      </p:sp>
      <p:sp>
        <p:nvSpPr>
          <p:cNvPr id="529" name="Ellipse 528">
            <a:extLst>
              <a:ext uri="{FF2B5EF4-FFF2-40B4-BE49-F238E27FC236}">
                <a16:creationId xmlns:a16="http://schemas.microsoft.com/office/drawing/2014/main" id="{E5ABB463-25DB-4219-875A-784002E53C8F}"/>
              </a:ext>
            </a:extLst>
          </p:cNvPr>
          <p:cNvSpPr/>
          <p:nvPr/>
        </p:nvSpPr>
        <p:spPr>
          <a:xfrm>
            <a:off x="16220861" y="9699700"/>
            <a:ext cx="10112250" cy="10112250"/>
          </a:xfrm>
          <a:prstGeom prst="ellipse">
            <a:avLst/>
          </a:prstGeom>
          <a:solidFill>
            <a:schemeClr val="bg1"/>
          </a:solidFill>
          <a:ln w="101600" cap="rnd">
            <a:solidFill>
              <a:srgbClr val="204B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2808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8427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30" name="Ellipse 529">
            <a:extLst>
              <a:ext uri="{FF2B5EF4-FFF2-40B4-BE49-F238E27FC236}">
                <a16:creationId xmlns:a16="http://schemas.microsoft.com/office/drawing/2014/main" id="{9EF661E7-DE4F-47C3-929E-2EC7B7ACB736}"/>
              </a:ext>
            </a:extLst>
          </p:cNvPr>
          <p:cNvSpPr/>
          <p:nvPr/>
        </p:nvSpPr>
        <p:spPr>
          <a:xfrm>
            <a:off x="17090033" y="10561661"/>
            <a:ext cx="8426875" cy="8426875"/>
          </a:xfrm>
          <a:prstGeom prst="ellipse">
            <a:avLst/>
          </a:prstGeom>
          <a:solidFill>
            <a:schemeClr val="bg1"/>
          </a:solidFill>
          <a:ln w="304800">
            <a:solidFill>
              <a:srgbClr val="204B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8538" tIns="168538" rIns="168538" bIns="168538" anchor="ctr"/>
          <a:lstStyle/>
          <a:p>
            <a:pPr algn="ctr" defTabSz="4280855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7200" b="1" dirty="0">
              <a:solidFill>
                <a:prstClr val="white">
                  <a:lumMod val="50000"/>
                </a:prstClr>
              </a:solidFill>
              <a:latin typeface="Michelin SemiBold"/>
            </a:endParaRPr>
          </a:p>
          <a:p>
            <a:pPr algn="ctr" defTabSz="4280855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7200" b="1" dirty="0">
              <a:solidFill>
                <a:prstClr val="white">
                  <a:lumMod val="50000"/>
                </a:prstClr>
              </a:solidFill>
              <a:latin typeface="Michelin SemiBold"/>
            </a:endParaRPr>
          </a:p>
          <a:p>
            <a:pPr algn="ctr" defTabSz="4280855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7200" b="1" dirty="0">
              <a:solidFill>
                <a:prstClr val="white">
                  <a:lumMod val="50000"/>
                </a:prstClr>
              </a:solidFill>
              <a:latin typeface="Michelin SemiBold"/>
            </a:endParaRPr>
          </a:p>
          <a:p>
            <a:pPr algn="ctr" defTabSz="4280855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5400" b="1" dirty="0">
              <a:solidFill>
                <a:prstClr val="white">
                  <a:lumMod val="50000"/>
                </a:prstClr>
              </a:solidFill>
              <a:latin typeface="Michelin SemiBold"/>
            </a:endParaRPr>
          </a:p>
          <a:p>
            <a:pPr algn="ctr" defTabSz="4280855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5400" b="1" dirty="0">
                <a:solidFill>
                  <a:schemeClr val="tx2"/>
                </a:solidFill>
                <a:latin typeface="Michelin SemiBold"/>
              </a:rPr>
              <a:t>ENTERPRISE</a:t>
            </a:r>
            <a:endParaRPr lang="en-US" sz="4400" b="1" dirty="0">
              <a:solidFill>
                <a:schemeClr val="tx2"/>
              </a:solidFill>
              <a:latin typeface="Michelin SemiBold"/>
            </a:endParaRPr>
          </a:p>
          <a:p>
            <a:pPr algn="ctr" defTabSz="4280855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5400" b="1" dirty="0">
                <a:solidFill>
                  <a:schemeClr val="tx2"/>
                </a:solidFill>
                <a:latin typeface="Michelin SemiBold"/>
              </a:rPr>
              <a:t>ARCHITECT</a:t>
            </a:r>
          </a:p>
        </p:txBody>
      </p:sp>
      <p:sp>
        <p:nvSpPr>
          <p:cNvPr id="611" name="ZoneTexte 610">
            <a:extLst>
              <a:ext uri="{FF2B5EF4-FFF2-40B4-BE49-F238E27FC236}">
                <a16:creationId xmlns:a16="http://schemas.microsoft.com/office/drawing/2014/main" id="{2A3C7A43-CC85-4D81-B619-59C04252E20D}"/>
              </a:ext>
            </a:extLst>
          </p:cNvPr>
          <p:cNvSpPr txBox="1"/>
          <p:nvPr/>
        </p:nvSpPr>
        <p:spPr>
          <a:xfrm>
            <a:off x="1671352" y="7883718"/>
            <a:ext cx="11549308" cy="2553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916" b="1" kern="0" dirty="0">
                <a:solidFill>
                  <a:srgbClr val="44546A"/>
                </a:solidFill>
                <a:latin typeface="Calibri"/>
              </a:rPr>
              <a:t>FUNCTIONAL DOMAIN ROADMAP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b="1" kern="0" dirty="0">
                <a:solidFill>
                  <a:srgbClr val="4BACC6"/>
                </a:solidFill>
              </a:rPr>
              <a:t>Establish and monitor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</a:rPr>
              <a:t>IS CAPABILITIES</a:t>
            </a:r>
          </a:p>
          <a:p>
            <a:pPr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1F497D"/>
                </a:solidFill>
                <a:latin typeface="Calibri"/>
              </a:rPr>
              <a:t>DECOMISSIONING PLAN</a:t>
            </a:r>
          </a:p>
          <a:p>
            <a:pPr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  <a:latin typeface="Calibri"/>
              </a:rPr>
              <a:t>MASTER PLAN</a:t>
            </a:r>
          </a:p>
        </p:txBody>
      </p:sp>
      <p:sp>
        <p:nvSpPr>
          <p:cNvPr id="612" name="ZoneTexte 611">
            <a:extLst>
              <a:ext uri="{FF2B5EF4-FFF2-40B4-BE49-F238E27FC236}">
                <a16:creationId xmlns:a16="http://schemas.microsoft.com/office/drawing/2014/main" id="{2531254E-5625-4464-8876-7E442C91215E}"/>
              </a:ext>
            </a:extLst>
          </p:cNvPr>
          <p:cNvSpPr txBox="1"/>
          <p:nvPr/>
        </p:nvSpPr>
        <p:spPr>
          <a:xfrm>
            <a:off x="9426930" y="9900320"/>
            <a:ext cx="8420045" cy="2553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916" b="1" kern="0" dirty="0">
                <a:solidFill>
                  <a:srgbClr val="44546A"/>
                </a:solidFill>
                <a:latin typeface="Calibri"/>
              </a:rPr>
              <a:t>PORTFOLIO MANAGEMENT </a:t>
            </a:r>
          </a:p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745" b="1" kern="0" dirty="0">
                <a:solidFill>
                  <a:srgbClr val="4BACC6"/>
                </a:solidFill>
              </a:rPr>
              <a:t>Contribute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</a:rPr>
              <a:t>ARCHITECTURE ASSESMENT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  <a:latin typeface="Calibri"/>
              </a:rPr>
              <a:t>PRODUCT DEPENDANCIES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  <a:latin typeface="Calibri"/>
              </a:rPr>
              <a:t> MANAGEMENT</a:t>
            </a:r>
          </a:p>
        </p:txBody>
      </p:sp>
      <p:sp>
        <p:nvSpPr>
          <p:cNvPr id="613" name="ZoneTexte 612">
            <a:extLst>
              <a:ext uri="{FF2B5EF4-FFF2-40B4-BE49-F238E27FC236}">
                <a16:creationId xmlns:a16="http://schemas.microsoft.com/office/drawing/2014/main" id="{81C5974C-D5D2-4F21-81F2-E9DC3BC4713D}"/>
              </a:ext>
            </a:extLst>
          </p:cNvPr>
          <p:cNvSpPr txBox="1"/>
          <p:nvPr/>
        </p:nvSpPr>
        <p:spPr>
          <a:xfrm>
            <a:off x="2374948" y="10687584"/>
            <a:ext cx="8420045" cy="30141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916" b="1" kern="0" dirty="0">
                <a:solidFill>
                  <a:srgbClr val="44546A"/>
                </a:solidFill>
                <a:latin typeface="Calibri"/>
              </a:rPr>
              <a:t>ARCHITECTURE STUDIES</a:t>
            </a:r>
          </a:p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745" b="1" kern="0" dirty="0">
                <a:solidFill>
                  <a:srgbClr val="4BACC6"/>
                </a:solidFill>
              </a:rPr>
              <a:t>Lead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</a:rPr>
              <a:t>DIAGNOSIS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  <a:latin typeface="Calibri"/>
              </a:rPr>
              <a:t>WHAT IF SCENARIO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  <a:latin typeface="Calibri"/>
              </a:rPr>
              <a:t>IS PROJECTION &amp; PLANNING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  <a:latin typeface="Calibri"/>
              </a:rPr>
              <a:t>SOURCING STUDY</a:t>
            </a:r>
            <a:endParaRPr lang="en-US" sz="3745" kern="0" dirty="0">
              <a:solidFill>
                <a:srgbClr val="44546A"/>
              </a:solidFill>
            </a:endParaRPr>
          </a:p>
        </p:txBody>
      </p:sp>
      <p:grpSp>
        <p:nvGrpSpPr>
          <p:cNvPr id="623" name="Group 32">
            <a:extLst>
              <a:ext uri="{FF2B5EF4-FFF2-40B4-BE49-F238E27FC236}">
                <a16:creationId xmlns:a16="http://schemas.microsoft.com/office/drawing/2014/main" id="{3626D9A2-98DB-4D0B-8BF5-37A544F90C89}"/>
              </a:ext>
            </a:extLst>
          </p:cNvPr>
          <p:cNvGrpSpPr/>
          <p:nvPr/>
        </p:nvGrpSpPr>
        <p:grpSpPr>
          <a:xfrm>
            <a:off x="35376546" y="13079279"/>
            <a:ext cx="1017363" cy="1179763"/>
            <a:chOff x="8999287" y="2228850"/>
            <a:chExt cx="304771" cy="379741"/>
          </a:xfrm>
          <a:solidFill>
            <a:srgbClr val="4DBD99"/>
          </a:solidFill>
        </p:grpSpPr>
        <p:sp>
          <p:nvSpPr>
            <p:cNvPr id="624" name="Freeform 81">
              <a:extLst>
                <a:ext uri="{FF2B5EF4-FFF2-40B4-BE49-F238E27FC236}">
                  <a16:creationId xmlns:a16="http://schemas.microsoft.com/office/drawing/2014/main" id="{BF2AF39A-D6C8-40B0-B551-585ED491CF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21764" y="2228850"/>
              <a:ext cx="282294" cy="315043"/>
            </a:xfrm>
            <a:custGeom>
              <a:avLst/>
              <a:gdLst>
                <a:gd name="T0" fmla="*/ 48 w 96"/>
                <a:gd name="T1" fmla="*/ 96 h 96"/>
                <a:gd name="T2" fmla="*/ 96 w 96"/>
                <a:gd name="T3" fmla="*/ 48 h 96"/>
                <a:gd name="T4" fmla="*/ 48 w 96"/>
                <a:gd name="T5" fmla="*/ 0 h 96"/>
                <a:gd name="T6" fmla="*/ 0 w 96"/>
                <a:gd name="T7" fmla="*/ 48 h 96"/>
                <a:gd name="T8" fmla="*/ 48 w 96"/>
                <a:gd name="T9" fmla="*/ 96 h 96"/>
                <a:gd name="T10" fmla="*/ 48 w 96"/>
                <a:gd name="T11" fmla="*/ 88 h 96"/>
                <a:gd name="T12" fmla="*/ 13 w 96"/>
                <a:gd name="T13" fmla="*/ 67 h 96"/>
                <a:gd name="T14" fmla="*/ 13 w 96"/>
                <a:gd name="T15" fmla="*/ 67 h 96"/>
                <a:gd name="T16" fmla="*/ 17 w 96"/>
                <a:gd name="T17" fmla="*/ 64 h 96"/>
                <a:gd name="T18" fmla="*/ 19 w 96"/>
                <a:gd name="T19" fmla="*/ 57 h 96"/>
                <a:gd name="T20" fmla="*/ 55 w 96"/>
                <a:gd name="T21" fmla="*/ 70 h 96"/>
                <a:gd name="T22" fmla="*/ 58 w 96"/>
                <a:gd name="T23" fmla="*/ 70 h 96"/>
                <a:gd name="T24" fmla="*/ 84 w 96"/>
                <a:gd name="T25" fmla="*/ 65 h 96"/>
                <a:gd name="T26" fmla="*/ 48 w 96"/>
                <a:gd name="T27" fmla="*/ 88 h 96"/>
                <a:gd name="T28" fmla="*/ 48 w 96"/>
                <a:gd name="T29" fmla="*/ 8 h 96"/>
                <a:gd name="T30" fmla="*/ 88 w 96"/>
                <a:gd name="T31" fmla="*/ 48 h 96"/>
                <a:gd name="T32" fmla="*/ 86 w 96"/>
                <a:gd name="T33" fmla="*/ 61 h 96"/>
                <a:gd name="T34" fmla="*/ 56 w 96"/>
                <a:gd name="T35" fmla="*/ 66 h 96"/>
                <a:gd name="T36" fmla="*/ 19 w 96"/>
                <a:gd name="T37" fmla="*/ 51 h 96"/>
                <a:gd name="T38" fmla="*/ 17 w 96"/>
                <a:gd name="T39" fmla="*/ 50 h 96"/>
                <a:gd name="T40" fmla="*/ 16 w 96"/>
                <a:gd name="T41" fmla="*/ 52 h 96"/>
                <a:gd name="T42" fmla="*/ 13 w 96"/>
                <a:gd name="T43" fmla="*/ 62 h 96"/>
                <a:gd name="T44" fmla="*/ 12 w 96"/>
                <a:gd name="T45" fmla="*/ 63 h 96"/>
                <a:gd name="T46" fmla="*/ 11 w 96"/>
                <a:gd name="T47" fmla="*/ 63 h 96"/>
                <a:gd name="T48" fmla="*/ 8 w 96"/>
                <a:gd name="T49" fmla="*/ 48 h 96"/>
                <a:gd name="T50" fmla="*/ 48 w 96"/>
                <a:gd name="T51" fmla="*/ 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6" h="96">
                  <a:moveTo>
                    <a:pt x="48" y="96"/>
                  </a:moveTo>
                  <a:cubicBezTo>
                    <a:pt x="74" y="96"/>
                    <a:pt x="96" y="74"/>
                    <a:pt x="96" y="48"/>
                  </a:cubicBezTo>
                  <a:cubicBezTo>
                    <a:pt x="96" y="21"/>
                    <a:pt x="74" y="0"/>
                    <a:pt x="48" y="0"/>
                  </a:cubicBezTo>
                  <a:cubicBezTo>
                    <a:pt x="22" y="0"/>
                    <a:pt x="0" y="21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lose/>
                  <a:moveTo>
                    <a:pt x="48" y="88"/>
                  </a:moveTo>
                  <a:cubicBezTo>
                    <a:pt x="33" y="88"/>
                    <a:pt x="20" y="79"/>
                    <a:pt x="13" y="67"/>
                  </a:cubicBezTo>
                  <a:cubicBezTo>
                    <a:pt x="13" y="67"/>
                    <a:pt x="13" y="67"/>
                    <a:pt x="13" y="67"/>
                  </a:cubicBezTo>
                  <a:cubicBezTo>
                    <a:pt x="14" y="67"/>
                    <a:pt x="16" y="66"/>
                    <a:pt x="17" y="64"/>
                  </a:cubicBezTo>
                  <a:cubicBezTo>
                    <a:pt x="18" y="62"/>
                    <a:pt x="18" y="59"/>
                    <a:pt x="19" y="57"/>
                  </a:cubicBezTo>
                  <a:cubicBezTo>
                    <a:pt x="24" y="61"/>
                    <a:pt x="35" y="68"/>
                    <a:pt x="55" y="70"/>
                  </a:cubicBezTo>
                  <a:cubicBezTo>
                    <a:pt x="56" y="70"/>
                    <a:pt x="57" y="70"/>
                    <a:pt x="58" y="70"/>
                  </a:cubicBezTo>
                  <a:cubicBezTo>
                    <a:pt x="67" y="70"/>
                    <a:pt x="77" y="67"/>
                    <a:pt x="84" y="65"/>
                  </a:cubicBezTo>
                  <a:cubicBezTo>
                    <a:pt x="77" y="79"/>
                    <a:pt x="64" y="88"/>
                    <a:pt x="48" y="88"/>
                  </a:cubicBezTo>
                  <a:close/>
                  <a:moveTo>
                    <a:pt x="48" y="8"/>
                  </a:moveTo>
                  <a:cubicBezTo>
                    <a:pt x="70" y="8"/>
                    <a:pt x="88" y="26"/>
                    <a:pt x="88" y="48"/>
                  </a:cubicBezTo>
                  <a:cubicBezTo>
                    <a:pt x="88" y="52"/>
                    <a:pt x="87" y="57"/>
                    <a:pt x="86" y="61"/>
                  </a:cubicBezTo>
                  <a:cubicBezTo>
                    <a:pt x="80" y="63"/>
                    <a:pt x="66" y="66"/>
                    <a:pt x="56" y="66"/>
                  </a:cubicBezTo>
                  <a:cubicBezTo>
                    <a:pt x="29" y="64"/>
                    <a:pt x="20" y="51"/>
                    <a:pt x="19" y="51"/>
                  </a:cubicBezTo>
                  <a:cubicBezTo>
                    <a:pt x="19" y="51"/>
                    <a:pt x="18" y="50"/>
                    <a:pt x="17" y="50"/>
                  </a:cubicBezTo>
                  <a:cubicBezTo>
                    <a:pt x="17" y="51"/>
                    <a:pt x="16" y="51"/>
                    <a:pt x="16" y="52"/>
                  </a:cubicBezTo>
                  <a:cubicBezTo>
                    <a:pt x="16" y="52"/>
                    <a:pt x="15" y="58"/>
                    <a:pt x="13" y="62"/>
                  </a:cubicBezTo>
                  <a:cubicBezTo>
                    <a:pt x="13" y="63"/>
                    <a:pt x="12" y="63"/>
                    <a:pt x="12" y="63"/>
                  </a:cubicBezTo>
                  <a:cubicBezTo>
                    <a:pt x="12" y="63"/>
                    <a:pt x="11" y="63"/>
                    <a:pt x="11" y="63"/>
                  </a:cubicBezTo>
                  <a:cubicBezTo>
                    <a:pt x="9" y="58"/>
                    <a:pt x="8" y="53"/>
                    <a:pt x="8" y="48"/>
                  </a:cubicBezTo>
                  <a:cubicBezTo>
                    <a:pt x="8" y="26"/>
                    <a:pt x="26" y="8"/>
                    <a:pt x="48" y="8"/>
                  </a:cubicBezTo>
                  <a:close/>
                </a:path>
              </a:pathLst>
            </a:custGeom>
            <a:grpFill/>
            <a:ln w="9525">
              <a:solidFill>
                <a:srgbClr val="24B274"/>
              </a:solidFill>
              <a:round/>
              <a:headEnd/>
              <a:tailEnd/>
            </a:ln>
          </p:spPr>
          <p:txBody>
            <a:bodyPr vert="horz" wrap="square" lIns="428085" tIns="214043" rIns="428085" bIns="214043" numCol="1" anchor="t" anchorCtr="0" compatLnSpc="1">
              <a:prstTxWarp prst="textNoShape">
                <a:avLst/>
              </a:prstTxWarp>
            </a:bodyPr>
            <a:lstStyle/>
            <a:p>
              <a:pPr defTabSz="4280752">
                <a:defRPr/>
              </a:pPr>
              <a:endParaRPr lang="en-US" sz="38389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25" name="Freeform 82">
              <a:extLst>
                <a:ext uri="{FF2B5EF4-FFF2-40B4-BE49-F238E27FC236}">
                  <a16:creationId xmlns:a16="http://schemas.microsoft.com/office/drawing/2014/main" id="{4AF6A6EA-E5AD-493B-AEA3-0CFD8B83684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9287" y="2491116"/>
              <a:ext cx="298450" cy="117475"/>
            </a:xfrm>
            <a:custGeom>
              <a:avLst/>
              <a:gdLst>
                <a:gd name="T0" fmla="*/ 98 w 112"/>
                <a:gd name="T1" fmla="*/ 1 h 44"/>
                <a:gd name="T2" fmla="*/ 93 w 112"/>
                <a:gd name="T3" fmla="*/ 2 h 44"/>
                <a:gd name="T4" fmla="*/ 94 w 112"/>
                <a:gd name="T5" fmla="*/ 7 h 44"/>
                <a:gd name="T6" fmla="*/ 104 w 112"/>
                <a:gd name="T7" fmla="*/ 20 h 44"/>
                <a:gd name="T8" fmla="*/ 56 w 112"/>
                <a:gd name="T9" fmla="*/ 36 h 44"/>
                <a:gd name="T10" fmla="*/ 8 w 112"/>
                <a:gd name="T11" fmla="*/ 20 h 44"/>
                <a:gd name="T12" fmla="*/ 18 w 112"/>
                <a:gd name="T13" fmla="*/ 7 h 44"/>
                <a:gd name="T14" fmla="*/ 19 w 112"/>
                <a:gd name="T15" fmla="*/ 2 h 44"/>
                <a:gd name="T16" fmla="*/ 14 w 112"/>
                <a:gd name="T17" fmla="*/ 1 h 44"/>
                <a:gd name="T18" fmla="*/ 0 w 112"/>
                <a:gd name="T19" fmla="*/ 20 h 44"/>
                <a:gd name="T20" fmla="*/ 56 w 112"/>
                <a:gd name="T21" fmla="*/ 44 h 44"/>
                <a:gd name="T22" fmla="*/ 112 w 112"/>
                <a:gd name="T23" fmla="*/ 20 h 44"/>
                <a:gd name="T24" fmla="*/ 98 w 112"/>
                <a:gd name="T25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2" h="44">
                  <a:moveTo>
                    <a:pt x="98" y="1"/>
                  </a:moveTo>
                  <a:cubicBezTo>
                    <a:pt x="97" y="0"/>
                    <a:pt x="94" y="0"/>
                    <a:pt x="93" y="2"/>
                  </a:cubicBezTo>
                  <a:cubicBezTo>
                    <a:pt x="91" y="4"/>
                    <a:pt x="92" y="6"/>
                    <a:pt x="94" y="7"/>
                  </a:cubicBezTo>
                  <a:cubicBezTo>
                    <a:pt x="101" y="13"/>
                    <a:pt x="104" y="16"/>
                    <a:pt x="104" y="20"/>
                  </a:cubicBezTo>
                  <a:cubicBezTo>
                    <a:pt x="104" y="32"/>
                    <a:pt x="91" y="36"/>
                    <a:pt x="56" y="36"/>
                  </a:cubicBezTo>
                  <a:cubicBezTo>
                    <a:pt x="21" y="36"/>
                    <a:pt x="8" y="32"/>
                    <a:pt x="8" y="20"/>
                  </a:cubicBezTo>
                  <a:cubicBezTo>
                    <a:pt x="8" y="16"/>
                    <a:pt x="11" y="13"/>
                    <a:pt x="18" y="7"/>
                  </a:cubicBezTo>
                  <a:cubicBezTo>
                    <a:pt x="20" y="6"/>
                    <a:pt x="21" y="4"/>
                    <a:pt x="19" y="2"/>
                  </a:cubicBezTo>
                  <a:cubicBezTo>
                    <a:pt x="18" y="0"/>
                    <a:pt x="15" y="0"/>
                    <a:pt x="14" y="1"/>
                  </a:cubicBezTo>
                  <a:cubicBezTo>
                    <a:pt x="7" y="6"/>
                    <a:pt x="0" y="11"/>
                    <a:pt x="0" y="20"/>
                  </a:cubicBezTo>
                  <a:cubicBezTo>
                    <a:pt x="0" y="42"/>
                    <a:pt x="29" y="44"/>
                    <a:pt x="56" y="44"/>
                  </a:cubicBezTo>
                  <a:cubicBezTo>
                    <a:pt x="83" y="44"/>
                    <a:pt x="112" y="42"/>
                    <a:pt x="112" y="20"/>
                  </a:cubicBezTo>
                  <a:cubicBezTo>
                    <a:pt x="112" y="11"/>
                    <a:pt x="105" y="6"/>
                    <a:pt x="98" y="1"/>
                  </a:cubicBezTo>
                  <a:close/>
                </a:path>
              </a:pathLst>
            </a:custGeom>
            <a:grpFill/>
            <a:ln w="9525">
              <a:solidFill>
                <a:srgbClr val="24B274"/>
              </a:solidFill>
              <a:round/>
              <a:headEnd/>
              <a:tailEnd/>
            </a:ln>
          </p:spPr>
          <p:txBody>
            <a:bodyPr vert="horz" wrap="square" lIns="428085" tIns="214043" rIns="428085" bIns="214043" numCol="1" anchor="t" anchorCtr="0" compatLnSpc="1">
              <a:prstTxWarp prst="textNoShape">
                <a:avLst/>
              </a:prstTxWarp>
            </a:bodyPr>
            <a:lstStyle/>
            <a:p>
              <a:pPr defTabSz="4280752">
                <a:defRPr/>
              </a:pPr>
              <a:endParaRPr lang="en-US" sz="38389" dirty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627" name="Rectangle 626">
            <a:extLst>
              <a:ext uri="{FF2B5EF4-FFF2-40B4-BE49-F238E27FC236}">
                <a16:creationId xmlns:a16="http://schemas.microsoft.com/office/drawing/2014/main" id="{C15B0F60-B1D8-4860-8A59-0FF616EC76B6}"/>
              </a:ext>
            </a:extLst>
          </p:cNvPr>
          <p:cNvSpPr/>
          <p:nvPr/>
        </p:nvSpPr>
        <p:spPr>
          <a:xfrm>
            <a:off x="36082278" y="3505911"/>
            <a:ext cx="5659794" cy="12449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3745" b="1" dirty="0">
                <a:solidFill>
                  <a:schemeClr val="accent3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Architecture</a:t>
            </a:r>
          </a:p>
          <a:p>
            <a:pPr lvl="0" algn="ctr">
              <a:defRPr/>
            </a:pPr>
            <a:r>
              <a:rPr lang="en-US" sz="3745" b="1" dirty="0">
                <a:solidFill>
                  <a:schemeClr val="accent3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Community</a:t>
            </a:r>
          </a:p>
        </p:txBody>
      </p:sp>
      <p:sp>
        <p:nvSpPr>
          <p:cNvPr id="628" name="ZoneTexte 627">
            <a:extLst>
              <a:ext uri="{FF2B5EF4-FFF2-40B4-BE49-F238E27FC236}">
                <a16:creationId xmlns:a16="http://schemas.microsoft.com/office/drawing/2014/main" id="{1A5A65C4-6CC4-4EA5-8084-2CBB3CBF4DCA}"/>
              </a:ext>
            </a:extLst>
          </p:cNvPr>
          <p:cNvSpPr txBox="1"/>
          <p:nvPr/>
        </p:nvSpPr>
        <p:spPr>
          <a:xfrm>
            <a:off x="9615172" y="5745650"/>
            <a:ext cx="12419393" cy="34751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916" b="1" kern="0" dirty="0">
                <a:solidFill>
                  <a:srgbClr val="44546A"/>
                </a:solidFill>
                <a:latin typeface="Calibri"/>
              </a:rPr>
              <a:t>IT STRATEGY</a:t>
            </a:r>
          </a:p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745" b="1" kern="0" dirty="0">
                <a:solidFill>
                  <a:srgbClr val="4BACC6"/>
                </a:solidFill>
              </a:rPr>
              <a:t>Define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  <a:latin typeface="Calibri"/>
              </a:rPr>
              <a:t>VISION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  <a:latin typeface="Calibri"/>
              </a:rPr>
              <a:t>OPPORTUNITIES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  <a:latin typeface="Calibri"/>
              </a:rPr>
              <a:t>RISKS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  <a:latin typeface="Calibri"/>
              </a:rPr>
              <a:t>MANAGEMENT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  <a:latin typeface="Calibri"/>
              </a:rPr>
              <a:t>IT CAPABILITY ROADMAP </a:t>
            </a:r>
          </a:p>
        </p:txBody>
      </p:sp>
      <p:sp>
        <p:nvSpPr>
          <p:cNvPr id="630" name="ZoneTexte 629">
            <a:extLst>
              <a:ext uri="{FF2B5EF4-FFF2-40B4-BE49-F238E27FC236}">
                <a16:creationId xmlns:a16="http://schemas.microsoft.com/office/drawing/2014/main" id="{79C267B4-AF80-4994-8493-404684B9205D}"/>
              </a:ext>
            </a:extLst>
          </p:cNvPr>
          <p:cNvSpPr txBox="1"/>
          <p:nvPr/>
        </p:nvSpPr>
        <p:spPr>
          <a:xfrm>
            <a:off x="5190580" y="22928611"/>
            <a:ext cx="8420045" cy="2553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916" b="1" kern="0" dirty="0">
                <a:solidFill>
                  <a:srgbClr val="44546A"/>
                </a:solidFill>
                <a:latin typeface="Calibri"/>
              </a:rPr>
              <a:t>DESIGN REVIEW</a:t>
            </a:r>
          </a:p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745" b="1" kern="0" dirty="0">
                <a:solidFill>
                  <a:srgbClr val="4BACC6"/>
                </a:solidFill>
              </a:rPr>
              <a:t>Tell, sell, Promote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</a:rPr>
              <a:t>EVALUATE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  <a:latin typeface="Calibri"/>
              </a:rPr>
              <a:t>ADVICE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  <a:latin typeface="Calibri"/>
              </a:rPr>
              <a:t>VALIDATE</a:t>
            </a:r>
          </a:p>
        </p:txBody>
      </p:sp>
      <p:sp>
        <p:nvSpPr>
          <p:cNvPr id="631" name="ZoneTexte 630">
            <a:extLst>
              <a:ext uri="{FF2B5EF4-FFF2-40B4-BE49-F238E27FC236}">
                <a16:creationId xmlns:a16="http://schemas.microsoft.com/office/drawing/2014/main" id="{D499AD90-FC99-463D-B535-9F3941A07E14}"/>
              </a:ext>
            </a:extLst>
          </p:cNvPr>
          <p:cNvSpPr txBox="1"/>
          <p:nvPr/>
        </p:nvSpPr>
        <p:spPr>
          <a:xfrm>
            <a:off x="9860771" y="21343988"/>
            <a:ext cx="8420045" cy="20921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916" b="1" kern="0" dirty="0">
                <a:solidFill>
                  <a:srgbClr val="44546A"/>
                </a:solidFill>
                <a:latin typeface="Calibri"/>
              </a:rPr>
              <a:t>ARCHITECTURE ASSESSMENT</a:t>
            </a:r>
          </a:p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745" b="1" kern="0" dirty="0">
                <a:solidFill>
                  <a:srgbClr val="4BACC6"/>
                </a:solidFill>
              </a:rPr>
              <a:t>Diagnostic and action plan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</a:rPr>
              <a:t>LOCAL TECHNICAL DEBT</a:t>
            </a:r>
            <a:endParaRPr lang="en-US" sz="3745" kern="0" dirty="0">
              <a:solidFill>
                <a:srgbClr val="44546A"/>
              </a:solidFill>
              <a:latin typeface="Calibri"/>
            </a:endParaRP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  <a:latin typeface="Calibri"/>
              </a:rPr>
              <a:t>LOCAL ACTION PLAN</a:t>
            </a:r>
            <a:endParaRPr lang="en-US" sz="3745" kern="0" dirty="0">
              <a:solidFill>
                <a:srgbClr val="44546A"/>
              </a:solidFill>
            </a:endParaRPr>
          </a:p>
        </p:txBody>
      </p:sp>
      <p:sp>
        <p:nvSpPr>
          <p:cNvPr id="632" name="ZoneTexte 631">
            <a:extLst>
              <a:ext uri="{FF2B5EF4-FFF2-40B4-BE49-F238E27FC236}">
                <a16:creationId xmlns:a16="http://schemas.microsoft.com/office/drawing/2014/main" id="{A45E9079-24F5-4875-8694-781DAB3A55B8}"/>
              </a:ext>
            </a:extLst>
          </p:cNvPr>
          <p:cNvSpPr txBox="1"/>
          <p:nvPr/>
        </p:nvSpPr>
        <p:spPr>
          <a:xfrm>
            <a:off x="9898421" y="17573283"/>
            <a:ext cx="8420045" cy="39362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916" b="1" kern="0" dirty="0">
                <a:solidFill>
                  <a:srgbClr val="44546A"/>
                </a:solidFill>
                <a:latin typeface="Calibri"/>
              </a:rPr>
              <a:t>CONNECT THE DOTS</a:t>
            </a:r>
          </a:p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745" b="1" kern="0" dirty="0">
                <a:solidFill>
                  <a:srgbClr val="4BACC6"/>
                </a:solidFill>
              </a:rPr>
              <a:t>Dialog intentional (reference) and emergent (teams)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</a:rPr>
              <a:t>REFERENCE ARCHITECTURE PROMOTION &amp; COMMUNICATION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</a:rPr>
              <a:t>NEW ARCHITECTURE CAPABILITIES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</a:rPr>
              <a:t>IDENTIFICATION</a:t>
            </a:r>
          </a:p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745" kern="0" dirty="0">
                <a:solidFill>
                  <a:srgbClr val="44546A"/>
                </a:solidFill>
              </a:rPr>
              <a:t> </a:t>
            </a:r>
            <a:endParaRPr lang="en-US" sz="3745" kern="0" dirty="0">
              <a:solidFill>
                <a:srgbClr val="44546A"/>
              </a:solidFill>
              <a:latin typeface="Calibri"/>
            </a:endParaRPr>
          </a:p>
        </p:txBody>
      </p:sp>
      <p:sp>
        <p:nvSpPr>
          <p:cNvPr id="633" name="ZoneTexte 632">
            <a:extLst>
              <a:ext uri="{FF2B5EF4-FFF2-40B4-BE49-F238E27FC236}">
                <a16:creationId xmlns:a16="http://schemas.microsoft.com/office/drawing/2014/main" id="{E187BAB9-D601-4ACC-9B33-AD552092817F}"/>
              </a:ext>
            </a:extLst>
          </p:cNvPr>
          <p:cNvSpPr txBox="1"/>
          <p:nvPr/>
        </p:nvSpPr>
        <p:spPr>
          <a:xfrm>
            <a:off x="25812866" y="16463390"/>
            <a:ext cx="8420045" cy="34751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916" b="1" kern="0" dirty="0">
                <a:solidFill>
                  <a:srgbClr val="44546A"/>
                </a:solidFill>
                <a:latin typeface="Calibri"/>
              </a:rPr>
              <a:t>ARCHITECTURE COACHING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b="1" kern="0" dirty="0">
                <a:solidFill>
                  <a:srgbClr val="4BACC6"/>
                </a:solidFill>
              </a:rPr>
              <a:t>Be a change agent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</a:rPr>
              <a:t>MENTORING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</a:rPr>
              <a:t>EVERGREEN AGENT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</a:rPr>
              <a:t>DECISION MAKER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</a:rPr>
              <a:t>ARCHITECTS EMPOWERMENT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</a:rPr>
              <a:t>INNOVATION</a:t>
            </a:r>
          </a:p>
        </p:txBody>
      </p:sp>
      <p:sp>
        <p:nvSpPr>
          <p:cNvPr id="636" name="ZoneTexte 635">
            <a:extLst>
              <a:ext uri="{FF2B5EF4-FFF2-40B4-BE49-F238E27FC236}">
                <a16:creationId xmlns:a16="http://schemas.microsoft.com/office/drawing/2014/main" id="{418E04C3-8969-4363-94BC-B9FB867BE9D0}"/>
              </a:ext>
            </a:extLst>
          </p:cNvPr>
          <p:cNvSpPr txBox="1"/>
          <p:nvPr/>
        </p:nvSpPr>
        <p:spPr>
          <a:xfrm>
            <a:off x="22811591" y="5770252"/>
            <a:ext cx="7436872" cy="30141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916" b="1" kern="0" dirty="0">
                <a:solidFill>
                  <a:srgbClr val="44546A"/>
                </a:solidFill>
                <a:latin typeface="Calibri"/>
              </a:rPr>
              <a:t>SYSTEM ENGINEERING</a:t>
            </a:r>
          </a:p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745" b="1" kern="0" dirty="0">
                <a:solidFill>
                  <a:srgbClr val="4BACC6"/>
                </a:solidFill>
              </a:rPr>
              <a:t>Monitor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  <a:latin typeface="Calibri"/>
              </a:rPr>
              <a:t>IS ANALYSIS (</a:t>
            </a:r>
            <a:r>
              <a:rPr lang="en-US" sz="3745" kern="0" dirty="0" err="1">
                <a:solidFill>
                  <a:srgbClr val="44546A"/>
                </a:solidFill>
                <a:latin typeface="Calibri"/>
              </a:rPr>
              <a:t>eAPM</a:t>
            </a:r>
            <a:r>
              <a:rPr lang="en-US" sz="3745" kern="0" dirty="0">
                <a:solidFill>
                  <a:srgbClr val="44546A"/>
                </a:solidFill>
                <a:latin typeface="Calibri"/>
              </a:rPr>
              <a:t>)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  <a:latin typeface="Calibri"/>
              </a:rPr>
              <a:t>BOUNDARIES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  <a:latin typeface="Calibri"/>
              </a:rPr>
              <a:t>DEPENDECIES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  <a:latin typeface="Calibri"/>
              </a:rPr>
              <a:t>PRODUCT MAP</a:t>
            </a:r>
          </a:p>
        </p:txBody>
      </p:sp>
      <p:sp>
        <p:nvSpPr>
          <p:cNvPr id="637" name="ZoneTexte 636">
            <a:extLst>
              <a:ext uri="{FF2B5EF4-FFF2-40B4-BE49-F238E27FC236}">
                <a16:creationId xmlns:a16="http://schemas.microsoft.com/office/drawing/2014/main" id="{6B403AD8-93B8-465B-A2F9-4DF02D1AA907}"/>
              </a:ext>
            </a:extLst>
          </p:cNvPr>
          <p:cNvSpPr txBox="1"/>
          <p:nvPr/>
        </p:nvSpPr>
        <p:spPr>
          <a:xfrm>
            <a:off x="26898323" y="9036352"/>
            <a:ext cx="8420045" cy="30141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916" b="1" kern="0" dirty="0">
                <a:solidFill>
                  <a:srgbClr val="44546A"/>
                </a:solidFill>
                <a:latin typeface="Calibri"/>
              </a:rPr>
              <a:t>IT COMPONENT CATALOG</a:t>
            </a:r>
          </a:p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745" b="1" kern="0" dirty="0">
                <a:solidFill>
                  <a:srgbClr val="4BACC6"/>
                </a:solidFill>
              </a:rPr>
              <a:t>Populate and communicate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</a:rPr>
              <a:t>IS KNOWLEDGE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</a:rPr>
              <a:t>COMPONENT SERVICES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</a:rPr>
              <a:t>PRODUCT &amp; PLATEFORM STRATEGY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</a:rPr>
              <a:t>« AS A SERVICE » STRATEGY </a:t>
            </a:r>
          </a:p>
        </p:txBody>
      </p:sp>
      <p:sp>
        <p:nvSpPr>
          <p:cNvPr id="639" name="ZoneTexte 638">
            <a:extLst>
              <a:ext uri="{FF2B5EF4-FFF2-40B4-BE49-F238E27FC236}">
                <a16:creationId xmlns:a16="http://schemas.microsoft.com/office/drawing/2014/main" id="{C855B706-FF0A-4F08-A8CA-5A5647EB9DD0}"/>
              </a:ext>
            </a:extLst>
          </p:cNvPr>
          <p:cNvSpPr txBox="1"/>
          <p:nvPr/>
        </p:nvSpPr>
        <p:spPr>
          <a:xfrm>
            <a:off x="23528238" y="20128707"/>
            <a:ext cx="7185329" cy="4080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916" b="1" kern="0" dirty="0">
                <a:solidFill>
                  <a:srgbClr val="44546A"/>
                </a:solidFill>
                <a:latin typeface="Calibri"/>
              </a:rPr>
              <a:t>ARCHITECTURE RETROSPECTIVES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b="1" kern="0" dirty="0">
                <a:solidFill>
                  <a:srgbClr val="4BACC6"/>
                </a:solidFill>
              </a:rPr>
              <a:t>Learn</a:t>
            </a:r>
          </a:p>
          <a:p>
            <a:pPr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</a:rPr>
              <a:t>FUNCTIONAL AND TECHNICAL</a:t>
            </a:r>
          </a:p>
          <a:p>
            <a:pPr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</a:rPr>
              <a:t>ARCHITECTURE</a:t>
            </a:r>
          </a:p>
          <a:p>
            <a:pPr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</a:rPr>
              <a:t>TEAM ORGANISATION &amp;</a:t>
            </a:r>
          </a:p>
          <a:p>
            <a:pPr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</a:rPr>
              <a:t>RITUALS</a:t>
            </a:r>
          </a:p>
          <a:p>
            <a:pPr lvl="0" algn="ctr">
              <a:lnSpc>
                <a:spcPct val="80000"/>
              </a:lnSpc>
              <a:defRPr/>
            </a:pPr>
            <a:endParaRPr lang="en-US" sz="3745" b="1" kern="0" dirty="0">
              <a:solidFill>
                <a:srgbClr val="44546A"/>
              </a:solidFill>
            </a:endParaRPr>
          </a:p>
        </p:txBody>
      </p:sp>
      <p:sp>
        <p:nvSpPr>
          <p:cNvPr id="650" name="ZoneTexte 649">
            <a:extLst>
              <a:ext uri="{FF2B5EF4-FFF2-40B4-BE49-F238E27FC236}">
                <a16:creationId xmlns:a16="http://schemas.microsoft.com/office/drawing/2014/main" id="{C9D90124-EF60-4FDE-9B9D-6478AA80C120}"/>
              </a:ext>
            </a:extLst>
          </p:cNvPr>
          <p:cNvSpPr txBox="1"/>
          <p:nvPr/>
        </p:nvSpPr>
        <p:spPr>
          <a:xfrm>
            <a:off x="31255448" y="19946155"/>
            <a:ext cx="7142015" cy="2553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280855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916" b="1" kern="0" dirty="0">
                <a:solidFill>
                  <a:srgbClr val="44546A"/>
                </a:solidFill>
                <a:latin typeface="Calibri"/>
              </a:rPr>
              <a:t>ARCHITECTURE ACADEMY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b="1" kern="0" dirty="0">
                <a:solidFill>
                  <a:srgbClr val="4BACC6"/>
                </a:solidFill>
              </a:rPr>
              <a:t>Learning organization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</a:rPr>
              <a:t>EXTERNAL ASSOCIATION</a:t>
            </a:r>
          </a:p>
          <a:p>
            <a:pPr lvl="0" algn="ctr">
              <a:lnSpc>
                <a:spcPct val="80000"/>
              </a:lnSpc>
              <a:defRPr/>
            </a:pPr>
            <a:r>
              <a:rPr lang="en-US" sz="3745" kern="0" dirty="0">
                <a:solidFill>
                  <a:srgbClr val="44546A"/>
                </a:solidFill>
              </a:rPr>
              <a:t>INTERNAL TRAINING</a:t>
            </a:r>
          </a:p>
          <a:p>
            <a:pPr lvl="0" algn="ctr">
              <a:lnSpc>
                <a:spcPct val="80000"/>
              </a:lnSpc>
              <a:defRPr/>
            </a:pPr>
            <a:endParaRPr lang="en-US" sz="3745" b="1" kern="0" dirty="0">
              <a:solidFill>
                <a:srgbClr val="44546A"/>
              </a:solidFill>
            </a:endParaRPr>
          </a:p>
        </p:txBody>
      </p:sp>
      <p:sp>
        <p:nvSpPr>
          <p:cNvPr id="651" name="ZoneTexte 650">
            <a:extLst>
              <a:ext uri="{FF2B5EF4-FFF2-40B4-BE49-F238E27FC236}">
                <a16:creationId xmlns:a16="http://schemas.microsoft.com/office/drawing/2014/main" id="{29345CEC-C7D4-421E-AF13-80055C33EC40}"/>
              </a:ext>
            </a:extLst>
          </p:cNvPr>
          <p:cNvSpPr txBox="1"/>
          <p:nvPr/>
        </p:nvSpPr>
        <p:spPr>
          <a:xfrm>
            <a:off x="16220861" y="1246951"/>
            <a:ext cx="12419393" cy="12450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280752">
              <a:defRPr/>
            </a:pPr>
            <a:r>
              <a:rPr lang="en-US" sz="7491" i="1" dirty="0">
                <a:solidFill>
                  <a:schemeClr val="bg1">
                    <a:lumMod val="65000"/>
                  </a:schemeClr>
                </a:solidFill>
                <a:latin typeface="Abadi Extra Light" panose="020B0204020104020204" pitchFamily="34" charset="0"/>
              </a:rPr>
              <a:t>Evolutionary architecture</a:t>
            </a:r>
          </a:p>
        </p:txBody>
      </p:sp>
      <p:sp>
        <p:nvSpPr>
          <p:cNvPr id="652" name="ZoneTexte 651">
            <a:extLst>
              <a:ext uri="{FF2B5EF4-FFF2-40B4-BE49-F238E27FC236}">
                <a16:creationId xmlns:a16="http://schemas.microsoft.com/office/drawing/2014/main" id="{28EA00D0-216D-44A1-AF5D-7E1435C46094}"/>
              </a:ext>
            </a:extLst>
          </p:cNvPr>
          <p:cNvSpPr txBox="1"/>
          <p:nvPr/>
        </p:nvSpPr>
        <p:spPr>
          <a:xfrm>
            <a:off x="18296692" y="25184978"/>
            <a:ext cx="12419393" cy="23978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280752">
              <a:defRPr/>
            </a:pPr>
            <a:r>
              <a:rPr lang="en-US" sz="7491" i="1" dirty="0">
                <a:solidFill>
                  <a:schemeClr val="bg1">
                    <a:lumMod val="65000"/>
                  </a:schemeClr>
                </a:solidFill>
                <a:latin typeface="Abadi Extra Light" panose="020B0204020104020204" pitchFamily="34" charset="0"/>
              </a:rPr>
              <a:t>Architecture Maieutic* </a:t>
            </a:r>
          </a:p>
          <a:p>
            <a:pPr defTabSz="4280752">
              <a:defRPr/>
            </a:pPr>
            <a:r>
              <a:rPr lang="en-US" sz="7491" i="1" dirty="0">
                <a:solidFill>
                  <a:schemeClr val="bg1">
                    <a:lumMod val="65000"/>
                  </a:schemeClr>
                </a:solidFill>
                <a:latin typeface="Abadi Extra Light" panose="020B0204020104020204" pitchFamily="34" charset="0"/>
              </a:rPr>
              <a:t> </a:t>
            </a:r>
            <a:r>
              <a:rPr lang="en-US" sz="5400" i="1" dirty="0">
                <a:solidFill>
                  <a:schemeClr val="bg1">
                    <a:lumMod val="65000"/>
                  </a:schemeClr>
                </a:solidFill>
                <a:latin typeface="Abadi Extra Light" panose="020B0204020104020204" pitchFamily="34" charset="0"/>
              </a:rPr>
              <a:t>*Decisional process facilitation</a:t>
            </a:r>
            <a:endParaRPr lang="en-US" sz="7491" i="1" dirty="0">
              <a:solidFill>
                <a:schemeClr val="bg1">
                  <a:lumMod val="65000"/>
                </a:schemeClr>
              </a:solidFill>
              <a:latin typeface="Abadi Extra Light" panose="020B0204020104020204" pitchFamily="34" charset="0"/>
            </a:endParaRPr>
          </a:p>
        </p:txBody>
      </p:sp>
      <p:sp>
        <p:nvSpPr>
          <p:cNvPr id="454" name="Rectangle 372">
            <a:extLst>
              <a:ext uri="{FF2B5EF4-FFF2-40B4-BE49-F238E27FC236}">
                <a16:creationId xmlns:a16="http://schemas.microsoft.com/office/drawing/2014/main" id="{4B425569-8AD8-4241-9FFD-E5BA433688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981438" y="14158045"/>
            <a:ext cx="4432713" cy="132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en-US" altLang="fr-FR" sz="4000" b="1" dirty="0">
                <a:solidFill>
                  <a:srgbClr val="00B05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Platforms</a:t>
            </a:r>
          </a:p>
          <a:p>
            <a:pPr algn="ctr" eaLnBrk="1" hangingPunct="1"/>
            <a:r>
              <a:rPr lang="en-US" altLang="fr-FR" sz="4000" b="1" dirty="0">
                <a:solidFill>
                  <a:srgbClr val="00B05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Providers</a:t>
            </a:r>
          </a:p>
        </p:txBody>
      </p:sp>
      <p:grpSp>
        <p:nvGrpSpPr>
          <p:cNvPr id="455" name="Groupe 390">
            <a:extLst>
              <a:ext uri="{FF2B5EF4-FFF2-40B4-BE49-F238E27FC236}">
                <a16:creationId xmlns:a16="http://schemas.microsoft.com/office/drawing/2014/main" id="{456A08EC-E3EB-4DD5-A3E2-404AAFC2325A}"/>
              </a:ext>
            </a:extLst>
          </p:cNvPr>
          <p:cNvGrpSpPr>
            <a:grpSpLocks/>
          </p:cNvGrpSpPr>
          <p:nvPr/>
        </p:nvGrpSpPr>
        <p:grpSpPr bwMode="auto">
          <a:xfrm>
            <a:off x="37854379" y="12198269"/>
            <a:ext cx="2552700" cy="2332038"/>
            <a:chOff x="2056619" y="744535"/>
            <a:chExt cx="653239" cy="574750"/>
          </a:xfrm>
        </p:grpSpPr>
        <p:sp>
          <p:nvSpPr>
            <p:cNvPr id="456" name="Ellipse 455">
              <a:extLst>
                <a:ext uri="{FF2B5EF4-FFF2-40B4-BE49-F238E27FC236}">
                  <a16:creationId xmlns:a16="http://schemas.microsoft.com/office/drawing/2014/main" id="{234B95C2-A8D1-49BA-BC2A-AC832201A95A}"/>
                </a:ext>
              </a:extLst>
            </p:cNvPr>
            <p:cNvSpPr/>
            <p:nvPr/>
          </p:nvSpPr>
          <p:spPr bwMode="auto">
            <a:xfrm>
              <a:off x="2056619" y="855422"/>
              <a:ext cx="653239" cy="463863"/>
            </a:xfrm>
            <a:prstGeom prst="ellipse">
              <a:avLst/>
            </a:prstGeom>
            <a:solidFill>
              <a:srgbClr val="00B050"/>
            </a:solidFill>
            <a:ln w="76200">
              <a:noFill/>
              <a:round/>
              <a:headEnd/>
              <a:tailEnd/>
            </a:ln>
            <a:effectLst>
              <a:outerShdw blurRad="419100" dist="38100" dir="5400000" sx="107000" sy="107000" algn="t" rotWithShape="0">
                <a:prstClr val="black">
                  <a:alpha val="34000"/>
                </a:prstClr>
              </a:outerShdw>
            </a:effectLst>
            <a:scene3d>
              <a:camera prst="perspectiveRelaxedModerately">
                <a:rot lat="17390630" lon="0" rev="0"/>
              </a:camera>
              <a:lightRig rig="threePt" dir="t"/>
            </a:scene3d>
            <a:sp3d extrusionH="190500" prstMaterial="matte"/>
          </p:spPr>
          <p:txBody>
            <a:bodyPr lIns="0" tIns="0" rIns="0" bIns="0" anchor="ctr"/>
            <a:lstStyle/>
            <a:p>
              <a:pPr algn="ctr" defTabSz="3210641" eaLnBrk="1" fontAlgn="auto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5400" b="1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457" name="_effect" descr="C:\Users\marc.h\Desktop\Schatten-TEST.png">
              <a:extLst>
                <a:ext uri="{FF2B5EF4-FFF2-40B4-BE49-F238E27FC236}">
                  <a16:creationId xmlns:a16="http://schemas.microsoft.com/office/drawing/2014/main" id="{37CE3F28-1CE3-4DFD-8F60-6B956A99AE8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 flipH="1">
              <a:off x="2114712" y="1055972"/>
              <a:ext cx="441180" cy="66513"/>
            </a:xfrm>
            <a:prstGeom prst="rect">
              <a:avLst/>
            </a:prstGeom>
            <a:solidFill>
              <a:srgbClr val="00B050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grpSp>
          <p:nvGrpSpPr>
            <p:cNvPr id="458" name="Gruppieren 96">
              <a:extLst>
                <a:ext uri="{FF2B5EF4-FFF2-40B4-BE49-F238E27FC236}">
                  <a16:creationId xmlns:a16="http://schemas.microsoft.com/office/drawing/2014/main" id="{211472D6-4C95-482F-86CD-FA4C880CFC48}"/>
                </a:ext>
              </a:extLst>
            </p:cNvPr>
            <p:cNvGrpSpPr/>
            <p:nvPr/>
          </p:nvGrpSpPr>
          <p:grpSpPr>
            <a:xfrm>
              <a:off x="2108167" y="758012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497" name="Freeform 156">
                <a:extLst>
                  <a:ext uri="{FF2B5EF4-FFF2-40B4-BE49-F238E27FC236}">
                    <a16:creationId xmlns:a16="http://schemas.microsoft.com/office/drawing/2014/main" id="{46AC1ED2-8480-4902-939F-8A77357D20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8" name="Freeform 159">
                <a:extLst>
                  <a:ext uri="{FF2B5EF4-FFF2-40B4-BE49-F238E27FC236}">
                    <a16:creationId xmlns:a16="http://schemas.microsoft.com/office/drawing/2014/main" id="{E6941F88-CE0B-41DC-92AE-7577F17927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9" name="Freeform 160">
                <a:extLst>
                  <a:ext uri="{FF2B5EF4-FFF2-40B4-BE49-F238E27FC236}">
                    <a16:creationId xmlns:a16="http://schemas.microsoft.com/office/drawing/2014/main" id="{3007FF16-8DCA-4CB7-83D9-D02265DAA4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00" name="Freeform 179">
                <a:extLst>
                  <a:ext uri="{FF2B5EF4-FFF2-40B4-BE49-F238E27FC236}">
                    <a16:creationId xmlns:a16="http://schemas.microsoft.com/office/drawing/2014/main" id="{41281962-4B26-4574-A951-90512B2909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01" name="Freeform 180">
                <a:extLst>
                  <a:ext uri="{FF2B5EF4-FFF2-40B4-BE49-F238E27FC236}">
                    <a16:creationId xmlns:a16="http://schemas.microsoft.com/office/drawing/2014/main" id="{3B55C413-9E48-4623-9DA6-381724A372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02" name="Freeform 181">
                <a:extLst>
                  <a:ext uri="{FF2B5EF4-FFF2-40B4-BE49-F238E27FC236}">
                    <a16:creationId xmlns:a16="http://schemas.microsoft.com/office/drawing/2014/main" id="{34C4A8A6-B9B3-4CBA-A829-8A800DF753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03" name="Freeform 182">
                <a:extLst>
                  <a:ext uri="{FF2B5EF4-FFF2-40B4-BE49-F238E27FC236}">
                    <a16:creationId xmlns:a16="http://schemas.microsoft.com/office/drawing/2014/main" id="{29EC2E16-E40C-42A6-B353-FF9EDA6E90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04" name="Freeform 183">
                <a:extLst>
                  <a:ext uri="{FF2B5EF4-FFF2-40B4-BE49-F238E27FC236}">
                    <a16:creationId xmlns:a16="http://schemas.microsoft.com/office/drawing/2014/main" id="{C6B38340-E459-4DD5-B4D3-4C603D8F40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05" name="Freeform 184">
                <a:extLst>
                  <a:ext uri="{FF2B5EF4-FFF2-40B4-BE49-F238E27FC236}">
                    <a16:creationId xmlns:a16="http://schemas.microsoft.com/office/drawing/2014/main" id="{F9AD42AF-F90D-4D16-8DC7-EED9ECA96C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06" name="Freeform 185">
                <a:extLst>
                  <a:ext uri="{FF2B5EF4-FFF2-40B4-BE49-F238E27FC236}">
                    <a16:creationId xmlns:a16="http://schemas.microsoft.com/office/drawing/2014/main" id="{62D0F86F-15AA-414D-B974-57163D96E5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07" name="Freeform 186">
                <a:extLst>
                  <a:ext uri="{FF2B5EF4-FFF2-40B4-BE49-F238E27FC236}">
                    <a16:creationId xmlns:a16="http://schemas.microsoft.com/office/drawing/2014/main" id="{A1D5961D-E0E2-4651-8327-39B5245980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08" name="Freeform 187">
                <a:extLst>
                  <a:ext uri="{FF2B5EF4-FFF2-40B4-BE49-F238E27FC236}">
                    <a16:creationId xmlns:a16="http://schemas.microsoft.com/office/drawing/2014/main" id="{70007286-CA83-4E72-A01C-766EDEA692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09" name="Freeform 157">
                <a:extLst>
                  <a:ext uri="{FF2B5EF4-FFF2-40B4-BE49-F238E27FC236}">
                    <a16:creationId xmlns:a16="http://schemas.microsoft.com/office/drawing/2014/main" id="{4AD6279F-FF37-4635-9E28-ED75C9E0FA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0" name="Freeform 158">
                <a:extLst>
                  <a:ext uri="{FF2B5EF4-FFF2-40B4-BE49-F238E27FC236}">
                    <a16:creationId xmlns:a16="http://schemas.microsoft.com/office/drawing/2014/main" id="{A5E8854F-AF38-42D6-8C75-38B9B79CBAC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1" name="Freeform 161">
                <a:extLst>
                  <a:ext uri="{FF2B5EF4-FFF2-40B4-BE49-F238E27FC236}">
                    <a16:creationId xmlns:a16="http://schemas.microsoft.com/office/drawing/2014/main" id="{7FB422C8-FD37-4983-B8DD-911D1F56EA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2" name="Freeform 162">
                <a:extLst>
                  <a:ext uri="{FF2B5EF4-FFF2-40B4-BE49-F238E27FC236}">
                    <a16:creationId xmlns:a16="http://schemas.microsoft.com/office/drawing/2014/main" id="{D10A9836-45D2-488F-ACE1-B1F9B3739AC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3" name="Freeform 163">
                <a:extLst>
                  <a:ext uri="{FF2B5EF4-FFF2-40B4-BE49-F238E27FC236}">
                    <a16:creationId xmlns:a16="http://schemas.microsoft.com/office/drawing/2014/main" id="{558A03AF-9C5E-4017-8379-CAA7AB23A4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4" name="Freeform 164">
                <a:extLst>
                  <a:ext uri="{FF2B5EF4-FFF2-40B4-BE49-F238E27FC236}">
                    <a16:creationId xmlns:a16="http://schemas.microsoft.com/office/drawing/2014/main" id="{BD1C506C-1252-4983-B24D-B1F4B36548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5" name="Freeform 165">
                <a:extLst>
                  <a:ext uri="{FF2B5EF4-FFF2-40B4-BE49-F238E27FC236}">
                    <a16:creationId xmlns:a16="http://schemas.microsoft.com/office/drawing/2014/main" id="{F930E0BD-956B-4CEE-8FDE-2D6593EA2E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6" name="Freeform 166">
                <a:extLst>
                  <a:ext uri="{FF2B5EF4-FFF2-40B4-BE49-F238E27FC236}">
                    <a16:creationId xmlns:a16="http://schemas.microsoft.com/office/drawing/2014/main" id="{F13B606C-7B6E-4153-A40A-3E00DDB9B0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7" name="Freeform 167">
                <a:extLst>
                  <a:ext uri="{FF2B5EF4-FFF2-40B4-BE49-F238E27FC236}">
                    <a16:creationId xmlns:a16="http://schemas.microsoft.com/office/drawing/2014/main" id="{9FE31944-9A08-407F-B654-D11E3A8DBE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8" name="Freeform 168">
                <a:extLst>
                  <a:ext uri="{FF2B5EF4-FFF2-40B4-BE49-F238E27FC236}">
                    <a16:creationId xmlns:a16="http://schemas.microsoft.com/office/drawing/2014/main" id="{CCFB640B-1C83-4C35-AD8E-6411A9781A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9" name="Freeform 169">
                <a:extLst>
                  <a:ext uri="{FF2B5EF4-FFF2-40B4-BE49-F238E27FC236}">
                    <a16:creationId xmlns:a16="http://schemas.microsoft.com/office/drawing/2014/main" id="{F3F5E614-6B4D-40FC-A9C3-90BA616DA1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0" name="Freeform 170">
                <a:extLst>
                  <a:ext uri="{FF2B5EF4-FFF2-40B4-BE49-F238E27FC236}">
                    <a16:creationId xmlns:a16="http://schemas.microsoft.com/office/drawing/2014/main" id="{4B0A1045-4690-4605-A7CE-69CAEF66DC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1" name="Freeform 171">
                <a:extLst>
                  <a:ext uri="{FF2B5EF4-FFF2-40B4-BE49-F238E27FC236}">
                    <a16:creationId xmlns:a16="http://schemas.microsoft.com/office/drawing/2014/main" id="{E26F4ED8-B56F-40AD-8346-EA4E1537EC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2" name="Freeform 172">
                <a:extLst>
                  <a:ext uri="{FF2B5EF4-FFF2-40B4-BE49-F238E27FC236}">
                    <a16:creationId xmlns:a16="http://schemas.microsoft.com/office/drawing/2014/main" id="{448C386D-4B33-4E42-B242-BB1915502D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3" name="Freeform 173">
                <a:extLst>
                  <a:ext uri="{FF2B5EF4-FFF2-40B4-BE49-F238E27FC236}">
                    <a16:creationId xmlns:a16="http://schemas.microsoft.com/office/drawing/2014/main" id="{B3717CFA-4035-4FF6-B2B3-68E3DB4E1B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4" name="Freeform 174">
                <a:extLst>
                  <a:ext uri="{FF2B5EF4-FFF2-40B4-BE49-F238E27FC236}">
                    <a16:creationId xmlns:a16="http://schemas.microsoft.com/office/drawing/2014/main" id="{854A124B-C671-42A1-88DE-641AB5553E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5" name="Freeform 175">
                <a:extLst>
                  <a:ext uri="{FF2B5EF4-FFF2-40B4-BE49-F238E27FC236}">
                    <a16:creationId xmlns:a16="http://schemas.microsoft.com/office/drawing/2014/main" id="{85290CD0-6044-42AA-A385-511F8FA936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6" name="Freeform 176">
                <a:extLst>
                  <a:ext uri="{FF2B5EF4-FFF2-40B4-BE49-F238E27FC236}">
                    <a16:creationId xmlns:a16="http://schemas.microsoft.com/office/drawing/2014/main" id="{C63FB12E-364D-4C24-BDC4-2A339D5793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7" name="Freeform 177">
                <a:extLst>
                  <a:ext uri="{FF2B5EF4-FFF2-40B4-BE49-F238E27FC236}">
                    <a16:creationId xmlns:a16="http://schemas.microsoft.com/office/drawing/2014/main" id="{75617F01-E0DE-40A4-AECF-A8A92DF495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8" name="Freeform 178">
                <a:extLst>
                  <a:ext uri="{FF2B5EF4-FFF2-40B4-BE49-F238E27FC236}">
                    <a16:creationId xmlns:a16="http://schemas.microsoft.com/office/drawing/2014/main" id="{9AD485AF-FF31-4971-B9D8-C1C0347167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29" name="Freeform 188">
                <a:extLst>
                  <a:ext uri="{FF2B5EF4-FFF2-40B4-BE49-F238E27FC236}">
                    <a16:creationId xmlns:a16="http://schemas.microsoft.com/office/drawing/2014/main" id="{8900BEDF-E288-44CE-82C9-96248C53B6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34" name="Freeform 103">
                <a:extLst>
                  <a:ext uri="{FF2B5EF4-FFF2-40B4-BE49-F238E27FC236}">
                    <a16:creationId xmlns:a16="http://schemas.microsoft.com/office/drawing/2014/main" id="{7FBD3801-BBCB-4F47-A191-0BF9B52A2E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35" name="Freeform 104">
                <a:extLst>
                  <a:ext uri="{FF2B5EF4-FFF2-40B4-BE49-F238E27FC236}">
                    <a16:creationId xmlns:a16="http://schemas.microsoft.com/office/drawing/2014/main" id="{B3A01A0D-7293-4EF1-A0AA-4D74C09E4A13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459" name="AutoShape 25">
              <a:extLst>
                <a:ext uri="{FF2B5EF4-FFF2-40B4-BE49-F238E27FC236}">
                  <a16:creationId xmlns:a16="http://schemas.microsoft.com/office/drawing/2014/main" id="{4BC2A93C-2A1D-40BD-96CC-1A8E07D375E3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86187" flipH="1">
              <a:off x="2210991" y="760968"/>
              <a:ext cx="158435" cy="327478"/>
            </a:xfrm>
            <a:custGeom>
              <a:avLst/>
              <a:gdLst>
                <a:gd name="T0" fmla="*/ 794460491 w 792"/>
                <a:gd name="T1" fmla="*/ 729941208 h 2536"/>
                <a:gd name="T2" fmla="*/ 794460491 w 792"/>
                <a:gd name="T3" fmla="*/ 729941208 h 2536"/>
                <a:gd name="T4" fmla="*/ 794460491 w 792"/>
                <a:gd name="T5" fmla="*/ 729941208 h 2536"/>
                <a:gd name="T6" fmla="*/ 794460491 w 792"/>
                <a:gd name="T7" fmla="*/ 729941208 h 2536"/>
                <a:gd name="T8" fmla="*/ 794460491 w 792"/>
                <a:gd name="T9" fmla="*/ 729941208 h 2536"/>
                <a:gd name="T10" fmla="*/ 794460491 w 792"/>
                <a:gd name="T11" fmla="*/ 729941208 h 2536"/>
                <a:gd name="T12" fmla="*/ 794460491 w 792"/>
                <a:gd name="T13" fmla="*/ 729941208 h 2536"/>
                <a:gd name="T14" fmla="*/ 794460491 w 792"/>
                <a:gd name="T15" fmla="*/ 729941208 h 2536"/>
                <a:gd name="T16" fmla="*/ 794460491 w 792"/>
                <a:gd name="T17" fmla="*/ 729941208 h 2536"/>
                <a:gd name="T18" fmla="*/ 794460491 w 792"/>
                <a:gd name="T19" fmla="*/ 729941208 h 2536"/>
                <a:gd name="T20" fmla="*/ 794460491 w 792"/>
                <a:gd name="T21" fmla="*/ 729941208 h 2536"/>
                <a:gd name="T22" fmla="*/ 794460491 w 792"/>
                <a:gd name="T23" fmla="*/ 729941208 h 2536"/>
                <a:gd name="T24" fmla="*/ 794460491 w 792"/>
                <a:gd name="T25" fmla="*/ 729941208 h 2536"/>
                <a:gd name="T26" fmla="*/ 794460491 w 792"/>
                <a:gd name="T27" fmla="*/ 729941208 h 2536"/>
                <a:gd name="T28" fmla="*/ 0 w 792"/>
                <a:gd name="T29" fmla="*/ 729941208 h 2536"/>
                <a:gd name="T30" fmla="*/ 794460491 w 792"/>
                <a:gd name="T31" fmla="*/ 729941208 h 2536"/>
                <a:gd name="T32" fmla="*/ 794460491 w 792"/>
                <a:gd name="T33" fmla="*/ 729941208 h 2536"/>
                <a:gd name="T34" fmla="*/ 794460491 w 792"/>
                <a:gd name="T35" fmla="*/ 729941208 h 2536"/>
                <a:gd name="T36" fmla="*/ 794460491 w 792"/>
                <a:gd name="T37" fmla="*/ 729941208 h 2536"/>
                <a:gd name="T38" fmla="*/ 794460491 w 792"/>
                <a:gd name="T39" fmla="*/ 729941208 h 2536"/>
                <a:gd name="T40" fmla="*/ 794460491 w 792"/>
                <a:gd name="T41" fmla="*/ 729941208 h 2536"/>
                <a:gd name="T42" fmla="*/ 794460491 w 792"/>
                <a:gd name="T43" fmla="*/ 729941208 h 2536"/>
                <a:gd name="T44" fmla="*/ 794460491 w 792"/>
                <a:gd name="T45" fmla="*/ 729941208 h 2536"/>
                <a:gd name="T46" fmla="*/ 794460491 w 792"/>
                <a:gd name="T47" fmla="*/ 729941208 h 2536"/>
                <a:gd name="T48" fmla="*/ 794460491 w 792"/>
                <a:gd name="T49" fmla="*/ 729941208 h 2536"/>
                <a:gd name="T50" fmla="*/ 794460491 w 792"/>
                <a:gd name="T51" fmla="*/ 729941208 h 2536"/>
                <a:gd name="T52" fmla="*/ 794460491 w 792"/>
                <a:gd name="T53" fmla="*/ 729941208 h 2536"/>
                <a:gd name="T54" fmla="*/ 794460491 w 792"/>
                <a:gd name="T55" fmla="*/ 729941208 h 2536"/>
                <a:gd name="T56" fmla="*/ 794460491 w 792"/>
                <a:gd name="T57" fmla="*/ 729941208 h 2536"/>
                <a:gd name="T58" fmla="*/ 794460491 w 792"/>
                <a:gd name="T59" fmla="*/ 729941208 h 2536"/>
                <a:gd name="T60" fmla="*/ 794460491 w 792"/>
                <a:gd name="T61" fmla="*/ 729941208 h 2536"/>
                <a:gd name="T62" fmla="*/ 794460491 w 792"/>
                <a:gd name="T63" fmla="*/ 729941208 h 2536"/>
                <a:gd name="T64" fmla="*/ 794460491 w 792"/>
                <a:gd name="T65" fmla="*/ 729941208 h 2536"/>
                <a:gd name="T66" fmla="*/ 794460491 w 792"/>
                <a:gd name="T67" fmla="*/ 729941208 h 2536"/>
                <a:gd name="T68" fmla="*/ 794460491 w 792"/>
                <a:gd name="T69" fmla="*/ 729941208 h 2536"/>
                <a:gd name="T70" fmla="*/ 794460491 w 792"/>
                <a:gd name="T71" fmla="*/ 729941208 h 2536"/>
                <a:gd name="T72" fmla="*/ 794460491 w 792"/>
                <a:gd name="T73" fmla="*/ 729941208 h 2536"/>
                <a:gd name="T74" fmla="*/ 794460491 w 792"/>
                <a:gd name="T75" fmla="*/ 729941208 h 2536"/>
                <a:gd name="T76" fmla="*/ 794460491 w 792"/>
                <a:gd name="T77" fmla="*/ 729941208 h 2536"/>
                <a:gd name="T78" fmla="*/ 794460491 w 792"/>
                <a:gd name="T79" fmla="*/ 729941208 h 2536"/>
                <a:gd name="T80" fmla="*/ 794460491 w 792"/>
                <a:gd name="T81" fmla="*/ 729941208 h 2536"/>
                <a:gd name="T82" fmla="*/ 794460491 w 792"/>
                <a:gd name="T83" fmla="*/ 729941208 h 2536"/>
                <a:gd name="T84" fmla="*/ 794460491 w 792"/>
                <a:gd name="T85" fmla="*/ 729941208 h 2536"/>
                <a:gd name="T86" fmla="*/ 794460491 w 792"/>
                <a:gd name="T87" fmla="*/ 729941208 h 2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92"/>
                <a:gd name="T133" fmla="*/ 0 h 2536"/>
                <a:gd name="T134" fmla="*/ 792 w 792"/>
                <a:gd name="T135" fmla="*/ 2536 h 2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92" h="2536">
                  <a:moveTo>
                    <a:pt x="752" y="900"/>
                  </a:moveTo>
                  <a:cubicBezTo>
                    <a:pt x="752" y="888"/>
                    <a:pt x="744" y="880"/>
                    <a:pt x="740" y="872"/>
                  </a:cubicBezTo>
                  <a:cubicBezTo>
                    <a:pt x="720" y="760"/>
                    <a:pt x="736" y="656"/>
                    <a:pt x="724" y="548"/>
                  </a:cubicBezTo>
                  <a:cubicBezTo>
                    <a:pt x="724" y="524"/>
                    <a:pt x="724" y="500"/>
                    <a:pt x="716" y="480"/>
                  </a:cubicBezTo>
                  <a:cubicBezTo>
                    <a:pt x="712" y="472"/>
                    <a:pt x="704" y="464"/>
                    <a:pt x="696" y="456"/>
                  </a:cubicBezTo>
                  <a:cubicBezTo>
                    <a:pt x="688" y="452"/>
                    <a:pt x="668" y="452"/>
                    <a:pt x="672" y="444"/>
                  </a:cubicBezTo>
                  <a:cubicBezTo>
                    <a:pt x="688" y="332"/>
                    <a:pt x="664" y="224"/>
                    <a:pt x="656" y="116"/>
                  </a:cubicBezTo>
                  <a:cubicBezTo>
                    <a:pt x="652" y="56"/>
                    <a:pt x="600" y="0"/>
                    <a:pt x="532" y="8"/>
                  </a:cubicBezTo>
                  <a:cubicBezTo>
                    <a:pt x="512" y="12"/>
                    <a:pt x="492" y="16"/>
                    <a:pt x="472" y="32"/>
                  </a:cubicBezTo>
                  <a:cubicBezTo>
                    <a:pt x="440" y="60"/>
                    <a:pt x="416" y="88"/>
                    <a:pt x="400" y="124"/>
                  </a:cubicBezTo>
                  <a:cubicBezTo>
                    <a:pt x="392" y="148"/>
                    <a:pt x="380" y="164"/>
                    <a:pt x="372" y="188"/>
                  </a:cubicBezTo>
                  <a:cubicBezTo>
                    <a:pt x="364" y="212"/>
                    <a:pt x="364" y="232"/>
                    <a:pt x="360" y="256"/>
                  </a:cubicBezTo>
                  <a:cubicBezTo>
                    <a:pt x="356" y="272"/>
                    <a:pt x="364" y="284"/>
                    <a:pt x="364" y="296"/>
                  </a:cubicBezTo>
                  <a:cubicBezTo>
                    <a:pt x="364" y="352"/>
                    <a:pt x="308" y="388"/>
                    <a:pt x="264" y="416"/>
                  </a:cubicBezTo>
                  <a:cubicBezTo>
                    <a:pt x="240" y="432"/>
                    <a:pt x="204" y="428"/>
                    <a:pt x="184" y="452"/>
                  </a:cubicBezTo>
                  <a:cubicBezTo>
                    <a:pt x="144" y="496"/>
                    <a:pt x="160" y="556"/>
                    <a:pt x="144" y="608"/>
                  </a:cubicBezTo>
                  <a:cubicBezTo>
                    <a:pt x="144" y="612"/>
                    <a:pt x="156" y="616"/>
                    <a:pt x="152" y="628"/>
                  </a:cubicBezTo>
                  <a:cubicBezTo>
                    <a:pt x="148" y="696"/>
                    <a:pt x="156" y="764"/>
                    <a:pt x="140" y="832"/>
                  </a:cubicBezTo>
                  <a:cubicBezTo>
                    <a:pt x="128" y="876"/>
                    <a:pt x="120" y="916"/>
                    <a:pt x="116" y="960"/>
                  </a:cubicBezTo>
                  <a:cubicBezTo>
                    <a:pt x="112" y="1024"/>
                    <a:pt x="116" y="1088"/>
                    <a:pt x="116" y="1152"/>
                  </a:cubicBezTo>
                  <a:cubicBezTo>
                    <a:pt x="116" y="1212"/>
                    <a:pt x="108" y="1272"/>
                    <a:pt x="96" y="1336"/>
                  </a:cubicBezTo>
                  <a:cubicBezTo>
                    <a:pt x="92" y="1360"/>
                    <a:pt x="104" y="1384"/>
                    <a:pt x="120" y="1404"/>
                  </a:cubicBezTo>
                  <a:cubicBezTo>
                    <a:pt x="136" y="1424"/>
                    <a:pt x="164" y="1432"/>
                    <a:pt x="188" y="1436"/>
                  </a:cubicBezTo>
                  <a:cubicBezTo>
                    <a:pt x="192" y="1436"/>
                    <a:pt x="196" y="1440"/>
                    <a:pt x="196" y="1444"/>
                  </a:cubicBezTo>
                  <a:cubicBezTo>
                    <a:pt x="192" y="1540"/>
                    <a:pt x="192" y="1636"/>
                    <a:pt x="180" y="1736"/>
                  </a:cubicBezTo>
                  <a:cubicBezTo>
                    <a:pt x="180" y="1744"/>
                    <a:pt x="188" y="1748"/>
                    <a:pt x="188" y="1752"/>
                  </a:cubicBezTo>
                  <a:cubicBezTo>
                    <a:pt x="188" y="1820"/>
                    <a:pt x="152" y="1884"/>
                    <a:pt x="148" y="1956"/>
                  </a:cubicBezTo>
                  <a:cubicBezTo>
                    <a:pt x="144" y="2056"/>
                    <a:pt x="156" y="2152"/>
                    <a:pt x="148" y="2252"/>
                  </a:cubicBezTo>
                  <a:cubicBezTo>
                    <a:pt x="148" y="2316"/>
                    <a:pt x="120" y="2376"/>
                    <a:pt x="88" y="2432"/>
                  </a:cubicBezTo>
                  <a:cubicBezTo>
                    <a:pt x="64" y="2468"/>
                    <a:pt x="24" y="2484"/>
                    <a:pt x="0" y="2516"/>
                  </a:cubicBezTo>
                  <a:cubicBezTo>
                    <a:pt x="52" y="2512"/>
                    <a:pt x="104" y="2516"/>
                    <a:pt x="152" y="2492"/>
                  </a:cubicBezTo>
                  <a:cubicBezTo>
                    <a:pt x="148" y="2460"/>
                    <a:pt x="180" y="2424"/>
                    <a:pt x="208" y="2424"/>
                  </a:cubicBezTo>
                  <a:cubicBezTo>
                    <a:pt x="224" y="2428"/>
                    <a:pt x="204" y="2460"/>
                    <a:pt x="220" y="2476"/>
                  </a:cubicBezTo>
                  <a:cubicBezTo>
                    <a:pt x="220" y="2448"/>
                    <a:pt x="224" y="2420"/>
                    <a:pt x="244" y="2396"/>
                  </a:cubicBezTo>
                  <a:cubicBezTo>
                    <a:pt x="268" y="2372"/>
                    <a:pt x="248" y="2336"/>
                    <a:pt x="224" y="2312"/>
                  </a:cubicBezTo>
                  <a:cubicBezTo>
                    <a:pt x="224" y="2308"/>
                    <a:pt x="221" y="2300"/>
                    <a:pt x="220" y="2292"/>
                  </a:cubicBezTo>
                  <a:cubicBezTo>
                    <a:pt x="216" y="2244"/>
                    <a:pt x="224" y="2196"/>
                    <a:pt x="236" y="2144"/>
                  </a:cubicBezTo>
                  <a:cubicBezTo>
                    <a:pt x="244" y="2084"/>
                    <a:pt x="264" y="2032"/>
                    <a:pt x="280" y="1972"/>
                  </a:cubicBezTo>
                  <a:cubicBezTo>
                    <a:pt x="296" y="1916"/>
                    <a:pt x="284" y="1856"/>
                    <a:pt x="304" y="1800"/>
                  </a:cubicBezTo>
                  <a:cubicBezTo>
                    <a:pt x="308" y="1784"/>
                    <a:pt x="312" y="1760"/>
                    <a:pt x="328" y="1752"/>
                  </a:cubicBezTo>
                  <a:cubicBezTo>
                    <a:pt x="352" y="1740"/>
                    <a:pt x="380" y="1740"/>
                    <a:pt x="404" y="1744"/>
                  </a:cubicBezTo>
                  <a:cubicBezTo>
                    <a:pt x="432" y="1744"/>
                    <a:pt x="460" y="1748"/>
                    <a:pt x="488" y="1752"/>
                  </a:cubicBezTo>
                  <a:cubicBezTo>
                    <a:pt x="500" y="1756"/>
                    <a:pt x="504" y="1768"/>
                    <a:pt x="508" y="1780"/>
                  </a:cubicBezTo>
                  <a:cubicBezTo>
                    <a:pt x="512" y="1840"/>
                    <a:pt x="496" y="1896"/>
                    <a:pt x="488" y="1956"/>
                  </a:cubicBezTo>
                  <a:cubicBezTo>
                    <a:pt x="484" y="2024"/>
                    <a:pt x="496" y="2092"/>
                    <a:pt x="480" y="2164"/>
                  </a:cubicBezTo>
                  <a:cubicBezTo>
                    <a:pt x="476" y="2192"/>
                    <a:pt x="476" y="2220"/>
                    <a:pt x="468" y="2248"/>
                  </a:cubicBezTo>
                  <a:cubicBezTo>
                    <a:pt x="460" y="2272"/>
                    <a:pt x="448" y="2292"/>
                    <a:pt x="444" y="2320"/>
                  </a:cubicBezTo>
                  <a:cubicBezTo>
                    <a:pt x="440" y="2328"/>
                    <a:pt x="428" y="2328"/>
                    <a:pt x="428" y="2340"/>
                  </a:cubicBezTo>
                  <a:cubicBezTo>
                    <a:pt x="424" y="2352"/>
                    <a:pt x="420" y="2364"/>
                    <a:pt x="420" y="2376"/>
                  </a:cubicBezTo>
                  <a:cubicBezTo>
                    <a:pt x="424" y="2392"/>
                    <a:pt x="440" y="2404"/>
                    <a:pt x="444" y="2416"/>
                  </a:cubicBezTo>
                  <a:cubicBezTo>
                    <a:pt x="452" y="2432"/>
                    <a:pt x="452" y="2452"/>
                    <a:pt x="448" y="2468"/>
                  </a:cubicBezTo>
                  <a:cubicBezTo>
                    <a:pt x="444" y="2476"/>
                    <a:pt x="436" y="2488"/>
                    <a:pt x="444" y="2496"/>
                  </a:cubicBezTo>
                  <a:cubicBezTo>
                    <a:pt x="480" y="2524"/>
                    <a:pt x="564" y="2536"/>
                    <a:pt x="552" y="2472"/>
                  </a:cubicBezTo>
                  <a:cubicBezTo>
                    <a:pt x="540" y="2432"/>
                    <a:pt x="512" y="2392"/>
                    <a:pt x="516" y="2348"/>
                  </a:cubicBezTo>
                  <a:cubicBezTo>
                    <a:pt x="516" y="2312"/>
                    <a:pt x="520" y="2276"/>
                    <a:pt x="532" y="2240"/>
                  </a:cubicBezTo>
                  <a:cubicBezTo>
                    <a:pt x="596" y="2088"/>
                    <a:pt x="640" y="1932"/>
                    <a:pt x="624" y="1768"/>
                  </a:cubicBezTo>
                  <a:cubicBezTo>
                    <a:pt x="652" y="1744"/>
                    <a:pt x="696" y="1748"/>
                    <a:pt x="732" y="1748"/>
                  </a:cubicBezTo>
                  <a:cubicBezTo>
                    <a:pt x="736" y="1640"/>
                    <a:pt x="708" y="1536"/>
                    <a:pt x="724" y="1428"/>
                  </a:cubicBezTo>
                  <a:cubicBezTo>
                    <a:pt x="728" y="1408"/>
                    <a:pt x="756" y="1416"/>
                    <a:pt x="768" y="1404"/>
                  </a:cubicBezTo>
                  <a:cubicBezTo>
                    <a:pt x="784" y="1392"/>
                    <a:pt x="792" y="1368"/>
                    <a:pt x="792" y="1356"/>
                  </a:cubicBezTo>
                  <a:cubicBezTo>
                    <a:pt x="740" y="1204"/>
                    <a:pt x="784" y="1060"/>
                    <a:pt x="752" y="900"/>
                  </a:cubicBezTo>
                  <a:close/>
                  <a:moveTo>
                    <a:pt x="208" y="1272"/>
                  </a:moveTo>
                  <a:cubicBezTo>
                    <a:pt x="200" y="1316"/>
                    <a:pt x="200" y="1364"/>
                    <a:pt x="200" y="1408"/>
                  </a:cubicBezTo>
                  <a:cubicBezTo>
                    <a:pt x="200" y="1416"/>
                    <a:pt x="204" y="1432"/>
                    <a:pt x="192" y="1428"/>
                  </a:cubicBezTo>
                  <a:cubicBezTo>
                    <a:pt x="176" y="1428"/>
                    <a:pt x="172" y="1420"/>
                    <a:pt x="160" y="1408"/>
                  </a:cubicBezTo>
                  <a:cubicBezTo>
                    <a:pt x="160" y="1404"/>
                    <a:pt x="160" y="1400"/>
                    <a:pt x="160" y="1396"/>
                  </a:cubicBezTo>
                  <a:cubicBezTo>
                    <a:pt x="148" y="1400"/>
                    <a:pt x="140" y="1388"/>
                    <a:pt x="136" y="1376"/>
                  </a:cubicBezTo>
                  <a:cubicBezTo>
                    <a:pt x="128" y="1356"/>
                    <a:pt x="132" y="1324"/>
                    <a:pt x="148" y="1324"/>
                  </a:cubicBezTo>
                  <a:cubicBezTo>
                    <a:pt x="172" y="1320"/>
                    <a:pt x="164" y="1364"/>
                    <a:pt x="172" y="1384"/>
                  </a:cubicBezTo>
                  <a:cubicBezTo>
                    <a:pt x="176" y="1388"/>
                    <a:pt x="180" y="1388"/>
                    <a:pt x="184" y="1388"/>
                  </a:cubicBezTo>
                  <a:cubicBezTo>
                    <a:pt x="180" y="1352"/>
                    <a:pt x="184" y="1312"/>
                    <a:pt x="176" y="1276"/>
                  </a:cubicBezTo>
                  <a:cubicBezTo>
                    <a:pt x="172" y="1252"/>
                    <a:pt x="152" y="1236"/>
                    <a:pt x="156" y="1208"/>
                  </a:cubicBezTo>
                  <a:cubicBezTo>
                    <a:pt x="180" y="1060"/>
                    <a:pt x="224" y="928"/>
                    <a:pt x="232" y="780"/>
                  </a:cubicBezTo>
                  <a:cubicBezTo>
                    <a:pt x="232" y="756"/>
                    <a:pt x="224" y="724"/>
                    <a:pt x="248" y="712"/>
                  </a:cubicBezTo>
                  <a:cubicBezTo>
                    <a:pt x="264" y="704"/>
                    <a:pt x="257" y="732"/>
                    <a:pt x="260" y="744"/>
                  </a:cubicBezTo>
                  <a:cubicBezTo>
                    <a:pt x="304" y="928"/>
                    <a:pt x="224" y="1092"/>
                    <a:pt x="208" y="1272"/>
                  </a:cubicBezTo>
                  <a:close/>
                  <a:moveTo>
                    <a:pt x="656" y="876"/>
                  </a:moveTo>
                  <a:cubicBezTo>
                    <a:pt x="656" y="888"/>
                    <a:pt x="641" y="882"/>
                    <a:pt x="632" y="876"/>
                  </a:cubicBezTo>
                  <a:cubicBezTo>
                    <a:pt x="620" y="868"/>
                    <a:pt x="620" y="852"/>
                    <a:pt x="624" y="844"/>
                  </a:cubicBezTo>
                  <a:cubicBezTo>
                    <a:pt x="632" y="824"/>
                    <a:pt x="624" y="800"/>
                    <a:pt x="616" y="780"/>
                  </a:cubicBezTo>
                  <a:cubicBezTo>
                    <a:pt x="608" y="764"/>
                    <a:pt x="608" y="744"/>
                    <a:pt x="624" y="728"/>
                  </a:cubicBezTo>
                  <a:cubicBezTo>
                    <a:pt x="628" y="728"/>
                    <a:pt x="632" y="728"/>
                    <a:pt x="636" y="728"/>
                  </a:cubicBezTo>
                  <a:cubicBezTo>
                    <a:pt x="664" y="776"/>
                    <a:pt x="660" y="828"/>
                    <a:pt x="656" y="876"/>
                  </a:cubicBezTo>
                  <a:close/>
                  <a:moveTo>
                    <a:pt x="728" y="1400"/>
                  </a:moveTo>
                  <a:cubicBezTo>
                    <a:pt x="724" y="1400"/>
                    <a:pt x="716" y="1392"/>
                    <a:pt x="720" y="1384"/>
                  </a:cubicBezTo>
                  <a:cubicBezTo>
                    <a:pt x="728" y="1364"/>
                    <a:pt x="716" y="1332"/>
                    <a:pt x="748" y="1332"/>
                  </a:cubicBezTo>
                  <a:cubicBezTo>
                    <a:pt x="752" y="1332"/>
                    <a:pt x="752" y="1341"/>
                    <a:pt x="756" y="1348"/>
                  </a:cubicBezTo>
                  <a:cubicBezTo>
                    <a:pt x="768" y="1372"/>
                    <a:pt x="756" y="1400"/>
                    <a:pt x="728" y="1400"/>
                  </a:cubicBezTo>
                  <a:close/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lIns="321064" tIns="160532" rIns="321064" bIns="160532"/>
            <a:lstStyle/>
            <a:p>
              <a:pPr defTabSz="321064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48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0" name="AutoShape 22">
              <a:extLst>
                <a:ext uri="{FF2B5EF4-FFF2-40B4-BE49-F238E27FC236}">
                  <a16:creationId xmlns:a16="http://schemas.microsoft.com/office/drawing/2014/main" id="{BEBF8E38-CF54-4ED7-8F04-4DAB41752E5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315802" y="744535"/>
              <a:ext cx="139748" cy="340390"/>
            </a:xfrm>
            <a:custGeom>
              <a:avLst/>
              <a:gdLst>
                <a:gd name="T0" fmla="*/ 808464432 w 680"/>
                <a:gd name="T1" fmla="*/ 813928491 h 2335"/>
                <a:gd name="T2" fmla="*/ 808464432 w 680"/>
                <a:gd name="T3" fmla="*/ 813928491 h 2335"/>
                <a:gd name="T4" fmla="*/ 808464432 w 680"/>
                <a:gd name="T5" fmla="*/ 813928491 h 2335"/>
                <a:gd name="T6" fmla="*/ 808464432 w 680"/>
                <a:gd name="T7" fmla="*/ 813928491 h 2335"/>
                <a:gd name="T8" fmla="*/ 808464432 w 680"/>
                <a:gd name="T9" fmla="*/ 813928491 h 2335"/>
                <a:gd name="T10" fmla="*/ 808464432 w 680"/>
                <a:gd name="T11" fmla="*/ 813928491 h 2335"/>
                <a:gd name="T12" fmla="*/ 808464432 w 680"/>
                <a:gd name="T13" fmla="*/ 813928491 h 2335"/>
                <a:gd name="T14" fmla="*/ 808464432 w 680"/>
                <a:gd name="T15" fmla="*/ 813928491 h 2335"/>
                <a:gd name="T16" fmla="*/ 808464432 w 680"/>
                <a:gd name="T17" fmla="*/ 813928491 h 2335"/>
                <a:gd name="T18" fmla="*/ 808464432 w 680"/>
                <a:gd name="T19" fmla="*/ 813928491 h 2335"/>
                <a:gd name="T20" fmla="*/ 808464432 w 680"/>
                <a:gd name="T21" fmla="*/ 813928491 h 2335"/>
                <a:gd name="T22" fmla="*/ 808464432 w 680"/>
                <a:gd name="T23" fmla="*/ 813928491 h 2335"/>
                <a:gd name="T24" fmla="*/ 808464432 w 680"/>
                <a:gd name="T25" fmla="*/ 813928491 h 2335"/>
                <a:gd name="T26" fmla="*/ 808464432 w 680"/>
                <a:gd name="T27" fmla="*/ 813928491 h 2335"/>
                <a:gd name="T28" fmla="*/ 808464432 w 680"/>
                <a:gd name="T29" fmla="*/ 813928491 h 2335"/>
                <a:gd name="T30" fmla="*/ 808464432 w 680"/>
                <a:gd name="T31" fmla="*/ 813928491 h 2335"/>
                <a:gd name="T32" fmla="*/ 808464432 w 680"/>
                <a:gd name="T33" fmla="*/ 813928491 h 2335"/>
                <a:gd name="T34" fmla="*/ 808464432 w 680"/>
                <a:gd name="T35" fmla="*/ 813928491 h 2335"/>
                <a:gd name="T36" fmla="*/ 808464432 w 680"/>
                <a:gd name="T37" fmla="*/ 813928491 h 2335"/>
                <a:gd name="T38" fmla="*/ 808464432 w 680"/>
                <a:gd name="T39" fmla="*/ 813928491 h 2335"/>
                <a:gd name="T40" fmla="*/ 808464432 w 680"/>
                <a:gd name="T41" fmla="*/ 813928491 h 2335"/>
                <a:gd name="T42" fmla="*/ 808464432 w 680"/>
                <a:gd name="T43" fmla="*/ 813928491 h 2335"/>
                <a:gd name="T44" fmla="*/ 808464432 w 680"/>
                <a:gd name="T45" fmla="*/ 813928491 h 2335"/>
                <a:gd name="T46" fmla="*/ 808464432 w 680"/>
                <a:gd name="T47" fmla="*/ 813928491 h 2335"/>
                <a:gd name="T48" fmla="*/ 808464432 w 680"/>
                <a:gd name="T49" fmla="*/ 813928491 h 2335"/>
                <a:gd name="T50" fmla="*/ 808464432 w 680"/>
                <a:gd name="T51" fmla="*/ 813928491 h 2335"/>
                <a:gd name="T52" fmla="*/ 808464432 w 680"/>
                <a:gd name="T53" fmla="*/ 813928491 h 2335"/>
                <a:gd name="T54" fmla="*/ 808464432 w 680"/>
                <a:gd name="T55" fmla="*/ 813928491 h 2335"/>
                <a:gd name="T56" fmla="*/ 808464432 w 680"/>
                <a:gd name="T57" fmla="*/ 813928491 h 2335"/>
                <a:gd name="T58" fmla="*/ 808464432 w 680"/>
                <a:gd name="T59" fmla="*/ 813928491 h 2335"/>
                <a:gd name="T60" fmla="*/ 808464432 w 680"/>
                <a:gd name="T61" fmla="*/ 813928491 h 2335"/>
                <a:gd name="T62" fmla="*/ 808464432 w 680"/>
                <a:gd name="T63" fmla="*/ 813928491 h 2335"/>
                <a:gd name="T64" fmla="*/ 808464432 w 680"/>
                <a:gd name="T65" fmla="*/ 813928491 h 2335"/>
                <a:gd name="T66" fmla="*/ 808464432 w 680"/>
                <a:gd name="T67" fmla="*/ 813928491 h 2335"/>
                <a:gd name="T68" fmla="*/ 808464432 w 680"/>
                <a:gd name="T69" fmla="*/ 813928491 h 2335"/>
                <a:gd name="T70" fmla="*/ 808464432 w 680"/>
                <a:gd name="T71" fmla="*/ 813928491 h 2335"/>
                <a:gd name="T72" fmla="*/ 808464432 w 680"/>
                <a:gd name="T73" fmla="*/ 813928491 h 2335"/>
                <a:gd name="T74" fmla="*/ 808464432 w 680"/>
                <a:gd name="T75" fmla="*/ 813928491 h 2335"/>
                <a:gd name="T76" fmla="*/ 808464432 w 680"/>
                <a:gd name="T77" fmla="*/ 813928491 h 2335"/>
                <a:gd name="T78" fmla="*/ 808464432 w 680"/>
                <a:gd name="T79" fmla="*/ 813928491 h 2335"/>
                <a:gd name="T80" fmla="*/ 808464432 w 680"/>
                <a:gd name="T81" fmla="*/ 813928491 h 2335"/>
                <a:gd name="T82" fmla="*/ 808464432 w 680"/>
                <a:gd name="T83" fmla="*/ 813928491 h 2335"/>
                <a:gd name="T84" fmla="*/ 808464432 w 680"/>
                <a:gd name="T85" fmla="*/ 813928491 h 2335"/>
                <a:gd name="T86" fmla="*/ 808464432 w 680"/>
                <a:gd name="T87" fmla="*/ 813928491 h 2335"/>
                <a:gd name="T88" fmla="*/ 808464432 w 680"/>
                <a:gd name="T89" fmla="*/ 813928491 h 2335"/>
                <a:gd name="T90" fmla="*/ 808464432 w 680"/>
                <a:gd name="T91" fmla="*/ 813928491 h 2335"/>
                <a:gd name="T92" fmla="*/ 808464432 w 680"/>
                <a:gd name="T93" fmla="*/ 813928491 h 2335"/>
                <a:gd name="T94" fmla="*/ 808464432 w 680"/>
                <a:gd name="T95" fmla="*/ 813928491 h 2335"/>
                <a:gd name="T96" fmla="*/ 808464432 w 680"/>
                <a:gd name="T97" fmla="*/ 813928491 h 2335"/>
                <a:gd name="T98" fmla="*/ 808464432 w 680"/>
                <a:gd name="T99" fmla="*/ 813928491 h 2335"/>
                <a:gd name="T100" fmla="*/ 808464432 w 680"/>
                <a:gd name="T101" fmla="*/ 813928491 h 2335"/>
                <a:gd name="T102" fmla="*/ 808464432 w 680"/>
                <a:gd name="T103" fmla="*/ 813928491 h 2335"/>
                <a:gd name="T104" fmla="*/ 808464432 w 680"/>
                <a:gd name="T105" fmla="*/ 813928491 h 2335"/>
                <a:gd name="T106" fmla="*/ 808464432 w 680"/>
                <a:gd name="T107" fmla="*/ 813928491 h 2335"/>
                <a:gd name="T108" fmla="*/ 808464432 w 680"/>
                <a:gd name="T109" fmla="*/ 813928491 h 2335"/>
                <a:gd name="T110" fmla="*/ 808464432 w 680"/>
                <a:gd name="T111" fmla="*/ 813928491 h 2335"/>
                <a:gd name="T112" fmla="*/ 808464432 w 680"/>
                <a:gd name="T113" fmla="*/ 813928491 h 2335"/>
                <a:gd name="T114" fmla="*/ 808464432 w 680"/>
                <a:gd name="T115" fmla="*/ 813928491 h 233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0"/>
                <a:gd name="T175" fmla="*/ 0 h 2335"/>
                <a:gd name="T176" fmla="*/ 680 w 680"/>
                <a:gd name="T177" fmla="*/ 2335 h 233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0" h="2335">
                  <a:moveTo>
                    <a:pt x="676" y="998"/>
                  </a:moveTo>
                  <a:cubicBezTo>
                    <a:pt x="670" y="976"/>
                    <a:pt x="677" y="952"/>
                    <a:pt x="674" y="929"/>
                  </a:cubicBezTo>
                  <a:cubicBezTo>
                    <a:pt x="673" y="919"/>
                    <a:pt x="670" y="909"/>
                    <a:pt x="668" y="898"/>
                  </a:cubicBezTo>
                  <a:cubicBezTo>
                    <a:pt x="666" y="885"/>
                    <a:pt x="667" y="872"/>
                    <a:pt x="667" y="859"/>
                  </a:cubicBezTo>
                  <a:cubicBezTo>
                    <a:pt x="666" y="834"/>
                    <a:pt x="662" y="810"/>
                    <a:pt x="662" y="785"/>
                  </a:cubicBezTo>
                  <a:cubicBezTo>
                    <a:pt x="663" y="759"/>
                    <a:pt x="664" y="732"/>
                    <a:pt x="662" y="706"/>
                  </a:cubicBezTo>
                  <a:cubicBezTo>
                    <a:pt x="657" y="647"/>
                    <a:pt x="645" y="590"/>
                    <a:pt x="632" y="533"/>
                  </a:cubicBezTo>
                  <a:cubicBezTo>
                    <a:pt x="628" y="513"/>
                    <a:pt x="623" y="492"/>
                    <a:pt x="618" y="472"/>
                  </a:cubicBezTo>
                  <a:cubicBezTo>
                    <a:pt x="613" y="453"/>
                    <a:pt x="607" y="436"/>
                    <a:pt x="592" y="423"/>
                  </a:cubicBezTo>
                  <a:cubicBezTo>
                    <a:pt x="572" y="405"/>
                    <a:pt x="547" y="403"/>
                    <a:pt x="524" y="392"/>
                  </a:cubicBezTo>
                  <a:cubicBezTo>
                    <a:pt x="506" y="384"/>
                    <a:pt x="489" y="373"/>
                    <a:pt x="471" y="364"/>
                  </a:cubicBezTo>
                  <a:cubicBezTo>
                    <a:pt x="463" y="361"/>
                    <a:pt x="455" y="357"/>
                    <a:pt x="449" y="351"/>
                  </a:cubicBezTo>
                  <a:cubicBezTo>
                    <a:pt x="443" y="344"/>
                    <a:pt x="438" y="342"/>
                    <a:pt x="430" y="339"/>
                  </a:cubicBezTo>
                  <a:cubicBezTo>
                    <a:pt x="420" y="336"/>
                    <a:pt x="415" y="332"/>
                    <a:pt x="415" y="323"/>
                  </a:cubicBezTo>
                  <a:cubicBezTo>
                    <a:pt x="415" y="314"/>
                    <a:pt x="415" y="304"/>
                    <a:pt x="414" y="294"/>
                  </a:cubicBezTo>
                  <a:cubicBezTo>
                    <a:pt x="413" y="285"/>
                    <a:pt x="412" y="279"/>
                    <a:pt x="419" y="272"/>
                  </a:cubicBezTo>
                  <a:cubicBezTo>
                    <a:pt x="426" y="263"/>
                    <a:pt x="428" y="252"/>
                    <a:pt x="429" y="241"/>
                  </a:cubicBezTo>
                  <a:cubicBezTo>
                    <a:pt x="430" y="234"/>
                    <a:pt x="431" y="227"/>
                    <a:pt x="431" y="220"/>
                  </a:cubicBezTo>
                  <a:cubicBezTo>
                    <a:pt x="431" y="214"/>
                    <a:pt x="431" y="215"/>
                    <a:pt x="436" y="216"/>
                  </a:cubicBezTo>
                  <a:cubicBezTo>
                    <a:pt x="450" y="219"/>
                    <a:pt x="451" y="211"/>
                    <a:pt x="456" y="200"/>
                  </a:cubicBezTo>
                  <a:cubicBezTo>
                    <a:pt x="461" y="190"/>
                    <a:pt x="474" y="134"/>
                    <a:pt x="449" y="140"/>
                  </a:cubicBezTo>
                  <a:cubicBezTo>
                    <a:pt x="446" y="141"/>
                    <a:pt x="449" y="130"/>
                    <a:pt x="449" y="128"/>
                  </a:cubicBezTo>
                  <a:cubicBezTo>
                    <a:pt x="450" y="121"/>
                    <a:pt x="453" y="114"/>
                    <a:pt x="451" y="106"/>
                  </a:cubicBezTo>
                  <a:cubicBezTo>
                    <a:pt x="448" y="95"/>
                    <a:pt x="452" y="86"/>
                    <a:pt x="450" y="76"/>
                  </a:cubicBezTo>
                  <a:cubicBezTo>
                    <a:pt x="449" y="66"/>
                    <a:pt x="442" y="57"/>
                    <a:pt x="438" y="48"/>
                  </a:cubicBezTo>
                  <a:cubicBezTo>
                    <a:pt x="435" y="43"/>
                    <a:pt x="435" y="38"/>
                    <a:pt x="429" y="35"/>
                  </a:cubicBezTo>
                  <a:cubicBezTo>
                    <a:pt x="423" y="32"/>
                    <a:pt x="421" y="28"/>
                    <a:pt x="416" y="24"/>
                  </a:cubicBezTo>
                  <a:cubicBezTo>
                    <a:pt x="408" y="17"/>
                    <a:pt x="397" y="5"/>
                    <a:pt x="386" y="7"/>
                  </a:cubicBezTo>
                  <a:cubicBezTo>
                    <a:pt x="381" y="9"/>
                    <a:pt x="376" y="5"/>
                    <a:pt x="371" y="3"/>
                  </a:cubicBezTo>
                  <a:cubicBezTo>
                    <a:pt x="369" y="3"/>
                    <a:pt x="366" y="3"/>
                    <a:pt x="364" y="3"/>
                  </a:cubicBezTo>
                  <a:cubicBezTo>
                    <a:pt x="360" y="3"/>
                    <a:pt x="356" y="0"/>
                    <a:pt x="352" y="0"/>
                  </a:cubicBezTo>
                  <a:cubicBezTo>
                    <a:pt x="346" y="0"/>
                    <a:pt x="338" y="1"/>
                    <a:pt x="332" y="1"/>
                  </a:cubicBezTo>
                  <a:cubicBezTo>
                    <a:pt x="330" y="2"/>
                    <a:pt x="328" y="4"/>
                    <a:pt x="325" y="4"/>
                  </a:cubicBezTo>
                  <a:cubicBezTo>
                    <a:pt x="322" y="5"/>
                    <a:pt x="320" y="3"/>
                    <a:pt x="316" y="3"/>
                  </a:cubicBezTo>
                  <a:cubicBezTo>
                    <a:pt x="311" y="3"/>
                    <a:pt x="307" y="9"/>
                    <a:pt x="301" y="10"/>
                  </a:cubicBezTo>
                  <a:cubicBezTo>
                    <a:pt x="299" y="11"/>
                    <a:pt x="297" y="13"/>
                    <a:pt x="295" y="14"/>
                  </a:cubicBezTo>
                  <a:cubicBezTo>
                    <a:pt x="292" y="15"/>
                    <a:pt x="288" y="16"/>
                    <a:pt x="285" y="17"/>
                  </a:cubicBezTo>
                  <a:cubicBezTo>
                    <a:pt x="280" y="20"/>
                    <a:pt x="276" y="22"/>
                    <a:pt x="272" y="25"/>
                  </a:cubicBezTo>
                  <a:cubicBezTo>
                    <a:pt x="269" y="27"/>
                    <a:pt x="268" y="30"/>
                    <a:pt x="266" y="32"/>
                  </a:cubicBezTo>
                  <a:cubicBezTo>
                    <a:pt x="262" y="35"/>
                    <a:pt x="257" y="39"/>
                    <a:pt x="254" y="44"/>
                  </a:cubicBezTo>
                  <a:cubicBezTo>
                    <a:pt x="253" y="47"/>
                    <a:pt x="253" y="50"/>
                    <a:pt x="251" y="53"/>
                  </a:cubicBezTo>
                  <a:cubicBezTo>
                    <a:pt x="250" y="56"/>
                    <a:pt x="247" y="57"/>
                    <a:pt x="245" y="61"/>
                  </a:cubicBezTo>
                  <a:cubicBezTo>
                    <a:pt x="242" y="69"/>
                    <a:pt x="237" y="87"/>
                    <a:pt x="241" y="95"/>
                  </a:cubicBezTo>
                  <a:cubicBezTo>
                    <a:pt x="245" y="104"/>
                    <a:pt x="240" y="115"/>
                    <a:pt x="244" y="124"/>
                  </a:cubicBezTo>
                  <a:cubicBezTo>
                    <a:pt x="245" y="129"/>
                    <a:pt x="239" y="126"/>
                    <a:pt x="236" y="127"/>
                  </a:cubicBezTo>
                  <a:cubicBezTo>
                    <a:pt x="231" y="130"/>
                    <a:pt x="231" y="138"/>
                    <a:pt x="230" y="142"/>
                  </a:cubicBezTo>
                  <a:cubicBezTo>
                    <a:pt x="228" y="155"/>
                    <a:pt x="226" y="170"/>
                    <a:pt x="229" y="183"/>
                  </a:cubicBezTo>
                  <a:cubicBezTo>
                    <a:pt x="233" y="194"/>
                    <a:pt x="238" y="203"/>
                    <a:pt x="250" y="204"/>
                  </a:cubicBezTo>
                  <a:cubicBezTo>
                    <a:pt x="254" y="204"/>
                    <a:pt x="256" y="203"/>
                    <a:pt x="257" y="207"/>
                  </a:cubicBezTo>
                  <a:cubicBezTo>
                    <a:pt x="258" y="212"/>
                    <a:pt x="257" y="219"/>
                    <a:pt x="257" y="224"/>
                  </a:cubicBezTo>
                  <a:cubicBezTo>
                    <a:pt x="257" y="235"/>
                    <a:pt x="258" y="245"/>
                    <a:pt x="263" y="254"/>
                  </a:cubicBezTo>
                  <a:cubicBezTo>
                    <a:pt x="266" y="259"/>
                    <a:pt x="269" y="263"/>
                    <a:pt x="269" y="269"/>
                  </a:cubicBezTo>
                  <a:cubicBezTo>
                    <a:pt x="268" y="274"/>
                    <a:pt x="268" y="278"/>
                    <a:pt x="268" y="283"/>
                  </a:cubicBezTo>
                  <a:cubicBezTo>
                    <a:pt x="268" y="293"/>
                    <a:pt x="268" y="304"/>
                    <a:pt x="268" y="314"/>
                  </a:cubicBezTo>
                  <a:cubicBezTo>
                    <a:pt x="268" y="323"/>
                    <a:pt x="270" y="334"/>
                    <a:pt x="261" y="340"/>
                  </a:cubicBezTo>
                  <a:cubicBezTo>
                    <a:pt x="257" y="343"/>
                    <a:pt x="252" y="346"/>
                    <a:pt x="246" y="348"/>
                  </a:cubicBezTo>
                  <a:cubicBezTo>
                    <a:pt x="242" y="350"/>
                    <a:pt x="238" y="350"/>
                    <a:pt x="234" y="352"/>
                  </a:cubicBezTo>
                  <a:cubicBezTo>
                    <a:pt x="223" y="359"/>
                    <a:pt x="216" y="369"/>
                    <a:pt x="204" y="374"/>
                  </a:cubicBezTo>
                  <a:cubicBezTo>
                    <a:pt x="188" y="382"/>
                    <a:pt x="173" y="392"/>
                    <a:pt x="157" y="400"/>
                  </a:cubicBezTo>
                  <a:cubicBezTo>
                    <a:pt x="138" y="412"/>
                    <a:pt x="115" y="413"/>
                    <a:pt x="96" y="426"/>
                  </a:cubicBezTo>
                  <a:cubicBezTo>
                    <a:pt x="76" y="439"/>
                    <a:pt x="66" y="460"/>
                    <a:pt x="61" y="482"/>
                  </a:cubicBezTo>
                  <a:cubicBezTo>
                    <a:pt x="57" y="497"/>
                    <a:pt x="53" y="511"/>
                    <a:pt x="50" y="526"/>
                  </a:cubicBezTo>
                  <a:cubicBezTo>
                    <a:pt x="44" y="565"/>
                    <a:pt x="38" y="605"/>
                    <a:pt x="33" y="644"/>
                  </a:cubicBezTo>
                  <a:cubicBezTo>
                    <a:pt x="28" y="681"/>
                    <a:pt x="25" y="719"/>
                    <a:pt x="21" y="757"/>
                  </a:cubicBezTo>
                  <a:cubicBezTo>
                    <a:pt x="19" y="777"/>
                    <a:pt x="18" y="797"/>
                    <a:pt x="16" y="817"/>
                  </a:cubicBezTo>
                  <a:cubicBezTo>
                    <a:pt x="14" y="842"/>
                    <a:pt x="9" y="868"/>
                    <a:pt x="7" y="893"/>
                  </a:cubicBezTo>
                  <a:cubicBezTo>
                    <a:pt x="4" y="916"/>
                    <a:pt x="6" y="939"/>
                    <a:pt x="5" y="962"/>
                  </a:cubicBezTo>
                  <a:cubicBezTo>
                    <a:pt x="5" y="972"/>
                    <a:pt x="4" y="982"/>
                    <a:pt x="4" y="992"/>
                  </a:cubicBezTo>
                  <a:cubicBezTo>
                    <a:pt x="4" y="997"/>
                    <a:pt x="5" y="1002"/>
                    <a:pt x="4" y="1007"/>
                  </a:cubicBezTo>
                  <a:cubicBezTo>
                    <a:pt x="4" y="1016"/>
                    <a:pt x="2" y="1024"/>
                    <a:pt x="3" y="1032"/>
                  </a:cubicBezTo>
                  <a:cubicBezTo>
                    <a:pt x="3" y="1041"/>
                    <a:pt x="9" y="1051"/>
                    <a:pt x="7" y="1059"/>
                  </a:cubicBezTo>
                  <a:cubicBezTo>
                    <a:pt x="4" y="1069"/>
                    <a:pt x="8" y="1083"/>
                    <a:pt x="10" y="1094"/>
                  </a:cubicBezTo>
                  <a:cubicBezTo>
                    <a:pt x="12" y="1105"/>
                    <a:pt x="17" y="1115"/>
                    <a:pt x="8" y="1125"/>
                  </a:cubicBezTo>
                  <a:cubicBezTo>
                    <a:pt x="4" y="1129"/>
                    <a:pt x="3" y="1134"/>
                    <a:pt x="3" y="1140"/>
                  </a:cubicBezTo>
                  <a:cubicBezTo>
                    <a:pt x="3" y="1143"/>
                    <a:pt x="3" y="1146"/>
                    <a:pt x="3" y="1150"/>
                  </a:cubicBezTo>
                  <a:cubicBezTo>
                    <a:pt x="4" y="1153"/>
                    <a:pt x="8" y="1158"/>
                    <a:pt x="7" y="1161"/>
                  </a:cubicBezTo>
                  <a:cubicBezTo>
                    <a:pt x="5" y="1167"/>
                    <a:pt x="0" y="1172"/>
                    <a:pt x="4" y="1179"/>
                  </a:cubicBezTo>
                  <a:cubicBezTo>
                    <a:pt x="8" y="1185"/>
                    <a:pt x="14" y="1183"/>
                    <a:pt x="19" y="1186"/>
                  </a:cubicBezTo>
                  <a:cubicBezTo>
                    <a:pt x="22" y="1188"/>
                    <a:pt x="15" y="1195"/>
                    <a:pt x="14" y="1198"/>
                  </a:cubicBezTo>
                  <a:cubicBezTo>
                    <a:pt x="13" y="1204"/>
                    <a:pt x="14" y="1210"/>
                    <a:pt x="15" y="1215"/>
                  </a:cubicBezTo>
                  <a:cubicBezTo>
                    <a:pt x="16" y="1220"/>
                    <a:pt x="12" y="1220"/>
                    <a:pt x="12" y="1223"/>
                  </a:cubicBezTo>
                  <a:cubicBezTo>
                    <a:pt x="13" y="1227"/>
                    <a:pt x="16" y="1229"/>
                    <a:pt x="16" y="1233"/>
                  </a:cubicBezTo>
                  <a:cubicBezTo>
                    <a:pt x="17" y="1245"/>
                    <a:pt x="16" y="1256"/>
                    <a:pt x="14" y="1267"/>
                  </a:cubicBezTo>
                  <a:cubicBezTo>
                    <a:pt x="13" y="1275"/>
                    <a:pt x="20" y="1284"/>
                    <a:pt x="22" y="1291"/>
                  </a:cubicBezTo>
                  <a:cubicBezTo>
                    <a:pt x="26" y="1302"/>
                    <a:pt x="29" y="1313"/>
                    <a:pt x="34" y="1324"/>
                  </a:cubicBezTo>
                  <a:cubicBezTo>
                    <a:pt x="41" y="1343"/>
                    <a:pt x="57" y="1349"/>
                    <a:pt x="76" y="1355"/>
                  </a:cubicBezTo>
                  <a:cubicBezTo>
                    <a:pt x="80" y="1356"/>
                    <a:pt x="88" y="1359"/>
                    <a:pt x="92" y="1358"/>
                  </a:cubicBezTo>
                  <a:cubicBezTo>
                    <a:pt x="96" y="1357"/>
                    <a:pt x="98" y="1357"/>
                    <a:pt x="102" y="1358"/>
                  </a:cubicBezTo>
                  <a:cubicBezTo>
                    <a:pt x="109" y="1359"/>
                    <a:pt x="107" y="1373"/>
                    <a:pt x="108" y="1379"/>
                  </a:cubicBezTo>
                  <a:cubicBezTo>
                    <a:pt x="111" y="1404"/>
                    <a:pt x="115" y="1429"/>
                    <a:pt x="120" y="1453"/>
                  </a:cubicBezTo>
                  <a:cubicBezTo>
                    <a:pt x="124" y="1473"/>
                    <a:pt x="131" y="1492"/>
                    <a:pt x="135" y="1512"/>
                  </a:cubicBezTo>
                  <a:cubicBezTo>
                    <a:pt x="138" y="1532"/>
                    <a:pt x="139" y="1553"/>
                    <a:pt x="140" y="1573"/>
                  </a:cubicBezTo>
                  <a:cubicBezTo>
                    <a:pt x="143" y="1647"/>
                    <a:pt x="140" y="1720"/>
                    <a:pt x="145" y="1793"/>
                  </a:cubicBezTo>
                  <a:cubicBezTo>
                    <a:pt x="150" y="1860"/>
                    <a:pt x="153" y="1926"/>
                    <a:pt x="157" y="1992"/>
                  </a:cubicBezTo>
                  <a:cubicBezTo>
                    <a:pt x="158" y="2011"/>
                    <a:pt x="159" y="2029"/>
                    <a:pt x="159" y="2048"/>
                  </a:cubicBezTo>
                  <a:cubicBezTo>
                    <a:pt x="159" y="2053"/>
                    <a:pt x="160" y="2057"/>
                    <a:pt x="160" y="2062"/>
                  </a:cubicBezTo>
                  <a:cubicBezTo>
                    <a:pt x="160" y="2077"/>
                    <a:pt x="164" y="2090"/>
                    <a:pt x="167" y="2105"/>
                  </a:cubicBezTo>
                  <a:cubicBezTo>
                    <a:pt x="170" y="2114"/>
                    <a:pt x="165" y="2124"/>
                    <a:pt x="169" y="2133"/>
                  </a:cubicBezTo>
                  <a:cubicBezTo>
                    <a:pt x="171" y="2138"/>
                    <a:pt x="173" y="2140"/>
                    <a:pt x="173" y="2144"/>
                  </a:cubicBezTo>
                  <a:cubicBezTo>
                    <a:pt x="175" y="2162"/>
                    <a:pt x="176" y="2179"/>
                    <a:pt x="179" y="2196"/>
                  </a:cubicBezTo>
                  <a:cubicBezTo>
                    <a:pt x="180" y="2202"/>
                    <a:pt x="180" y="2210"/>
                    <a:pt x="184" y="2216"/>
                  </a:cubicBezTo>
                  <a:cubicBezTo>
                    <a:pt x="187" y="2221"/>
                    <a:pt x="192" y="2216"/>
                    <a:pt x="196" y="2217"/>
                  </a:cubicBezTo>
                  <a:cubicBezTo>
                    <a:pt x="205" y="2218"/>
                    <a:pt x="183" y="2238"/>
                    <a:pt x="183" y="2239"/>
                  </a:cubicBezTo>
                  <a:cubicBezTo>
                    <a:pt x="172" y="2249"/>
                    <a:pt x="165" y="2261"/>
                    <a:pt x="151" y="2268"/>
                  </a:cubicBezTo>
                  <a:cubicBezTo>
                    <a:pt x="142" y="2273"/>
                    <a:pt x="128" y="2275"/>
                    <a:pt x="124" y="2287"/>
                  </a:cubicBezTo>
                  <a:cubicBezTo>
                    <a:pt x="123" y="2291"/>
                    <a:pt x="125" y="2298"/>
                    <a:pt x="120" y="2301"/>
                  </a:cubicBezTo>
                  <a:cubicBezTo>
                    <a:pt x="117" y="2303"/>
                    <a:pt x="111" y="2303"/>
                    <a:pt x="111" y="2308"/>
                  </a:cubicBezTo>
                  <a:cubicBezTo>
                    <a:pt x="112" y="2315"/>
                    <a:pt x="117" y="2315"/>
                    <a:pt x="122" y="2316"/>
                  </a:cubicBezTo>
                  <a:cubicBezTo>
                    <a:pt x="128" y="2316"/>
                    <a:pt x="133" y="2318"/>
                    <a:pt x="138" y="2320"/>
                  </a:cubicBezTo>
                  <a:cubicBezTo>
                    <a:pt x="157" y="2323"/>
                    <a:pt x="177" y="2323"/>
                    <a:pt x="197" y="2323"/>
                  </a:cubicBezTo>
                  <a:cubicBezTo>
                    <a:pt x="215" y="2323"/>
                    <a:pt x="233" y="2322"/>
                    <a:pt x="251" y="2320"/>
                  </a:cubicBezTo>
                  <a:cubicBezTo>
                    <a:pt x="260" y="2320"/>
                    <a:pt x="271" y="2320"/>
                    <a:pt x="273" y="2309"/>
                  </a:cubicBezTo>
                  <a:cubicBezTo>
                    <a:pt x="275" y="2299"/>
                    <a:pt x="277" y="2294"/>
                    <a:pt x="287" y="2298"/>
                  </a:cubicBezTo>
                  <a:cubicBezTo>
                    <a:pt x="298" y="2302"/>
                    <a:pt x="305" y="2301"/>
                    <a:pt x="316" y="2298"/>
                  </a:cubicBezTo>
                  <a:cubicBezTo>
                    <a:pt x="323" y="2295"/>
                    <a:pt x="344" y="2293"/>
                    <a:pt x="343" y="2282"/>
                  </a:cubicBezTo>
                  <a:cubicBezTo>
                    <a:pt x="342" y="2275"/>
                    <a:pt x="342" y="2268"/>
                    <a:pt x="342" y="2262"/>
                  </a:cubicBezTo>
                  <a:cubicBezTo>
                    <a:pt x="342" y="2257"/>
                    <a:pt x="343" y="2250"/>
                    <a:pt x="341" y="2246"/>
                  </a:cubicBezTo>
                  <a:cubicBezTo>
                    <a:pt x="339" y="2243"/>
                    <a:pt x="335" y="2244"/>
                    <a:pt x="334" y="2243"/>
                  </a:cubicBezTo>
                  <a:cubicBezTo>
                    <a:pt x="332" y="2239"/>
                    <a:pt x="334" y="2230"/>
                    <a:pt x="334" y="2225"/>
                  </a:cubicBezTo>
                  <a:cubicBezTo>
                    <a:pt x="334" y="2221"/>
                    <a:pt x="334" y="2215"/>
                    <a:pt x="332" y="2211"/>
                  </a:cubicBezTo>
                  <a:cubicBezTo>
                    <a:pt x="330" y="2207"/>
                    <a:pt x="333" y="2204"/>
                    <a:pt x="335" y="2199"/>
                  </a:cubicBezTo>
                  <a:cubicBezTo>
                    <a:pt x="337" y="2194"/>
                    <a:pt x="335" y="2188"/>
                    <a:pt x="334" y="2183"/>
                  </a:cubicBezTo>
                  <a:cubicBezTo>
                    <a:pt x="333" y="2175"/>
                    <a:pt x="334" y="2167"/>
                    <a:pt x="333" y="2159"/>
                  </a:cubicBezTo>
                  <a:cubicBezTo>
                    <a:pt x="332" y="2142"/>
                    <a:pt x="331" y="2124"/>
                    <a:pt x="330" y="2106"/>
                  </a:cubicBezTo>
                  <a:cubicBezTo>
                    <a:pt x="328" y="2086"/>
                    <a:pt x="326" y="2067"/>
                    <a:pt x="324" y="2047"/>
                  </a:cubicBezTo>
                  <a:cubicBezTo>
                    <a:pt x="321" y="2027"/>
                    <a:pt x="323" y="2006"/>
                    <a:pt x="323" y="1985"/>
                  </a:cubicBezTo>
                  <a:cubicBezTo>
                    <a:pt x="322" y="1966"/>
                    <a:pt x="321" y="1947"/>
                    <a:pt x="319" y="1928"/>
                  </a:cubicBezTo>
                  <a:cubicBezTo>
                    <a:pt x="317" y="1902"/>
                    <a:pt x="318" y="1877"/>
                    <a:pt x="316" y="1852"/>
                  </a:cubicBezTo>
                  <a:cubicBezTo>
                    <a:pt x="313" y="1824"/>
                    <a:pt x="309" y="1796"/>
                    <a:pt x="298" y="1770"/>
                  </a:cubicBezTo>
                  <a:cubicBezTo>
                    <a:pt x="294" y="1759"/>
                    <a:pt x="290" y="1752"/>
                    <a:pt x="289" y="1740"/>
                  </a:cubicBezTo>
                  <a:cubicBezTo>
                    <a:pt x="288" y="1729"/>
                    <a:pt x="290" y="1718"/>
                    <a:pt x="289" y="1706"/>
                  </a:cubicBezTo>
                  <a:cubicBezTo>
                    <a:pt x="287" y="1683"/>
                    <a:pt x="283" y="1661"/>
                    <a:pt x="286" y="1638"/>
                  </a:cubicBezTo>
                  <a:cubicBezTo>
                    <a:pt x="289" y="1609"/>
                    <a:pt x="292" y="1580"/>
                    <a:pt x="296" y="1552"/>
                  </a:cubicBezTo>
                  <a:cubicBezTo>
                    <a:pt x="302" y="1520"/>
                    <a:pt x="305" y="1488"/>
                    <a:pt x="309" y="1456"/>
                  </a:cubicBezTo>
                  <a:cubicBezTo>
                    <a:pt x="312" y="1435"/>
                    <a:pt x="315" y="1415"/>
                    <a:pt x="319" y="1394"/>
                  </a:cubicBezTo>
                  <a:cubicBezTo>
                    <a:pt x="320" y="1384"/>
                    <a:pt x="318" y="1375"/>
                    <a:pt x="319" y="1365"/>
                  </a:cubicBezTo>
                  <a:cubicBezTo>
                    <a:pt x="320" y="1355"/>
                    <a:pt x="323" y="1345"/>
                    <a:pt x="322" y="1335"/>
                  </a:cubicBezTo>
                  <a:cubicBezTo>
                    <a:pt x="322" y="1326"/>
                    <a:pt x="322" y="1318"/>
                    <a:pt x="325" y="1309"/>
                  </a:cubicBezTo>
                  <a:cubicBezTo>
                    <a:pt x="327" y="1304"/>
                    <a:pt x="329" y="1292"/>
                    <a:pt x="332" y="1289"/>
                  </a:cubicBezTo>
                  <a:cubicBezTo>
                    <a:pt x="332" y="1290"/>
                    <a:pt x="336" y="1293"/>
                    <a:pt x="337" y="1293"/>
                  </a:cubicBezTo>
                  <a:cubicBezTo>
                    <a:pt x="341" y="1295"/>
                    <a:pt x="343" y="1295"/>
                    <a:pt x="344" y="1300"/>
                  </a:cubicBezTo>
                  <a:cubicBezTo>
                    <a:pt x="347" y="1311"/>
                    <a:pt x="349" y="1323"/>
                    <a:pt x="352" y="1334"/>
                  </a:cubicBezTo>
                  <a:cubicBezTo>
                    <a:pt x="357" y="1354"/>
                    <a:pt x="359" y="1375"/>
                    <a:pt x="361" y="1396"/>
                  </a:cubicBezTo>
                  <a:cubicBezTo>
                    <a:pt x="365" y="1433"/>
                    <a:pt x="372" y="1470"/>
                    <a:pt x="376" y="1507"/>
                  </a:cubicBezTo>
                  <a:cubicBezTo>
                    <a:pt x="378" y="1526"/>
                    <a:pt x="381" y="1544"/>
                    <a:pt x="384" y="1561"/>
                  </a:cubicBezTo>
                  <a:cubicBezTo>
                    <a:pt x="388" y="1578"/>
                    <a:pt x="390" y="1597"/>
                    <a:pt x="396" y="1613"/>
                  </a:cubicBezTo>
                  <a:cubicBezTo>
                    <a:pt x="404" y="1633"/>
                    <a:pt x="411" y="1652"/>
                    <a:pt x="415" y="1674"/>
                  </a:cubicBezTo>
                  <a:cubicBezTo>
                    <a:pt x="418" y="1695"/>
                    <a:pt x="422" y="1715"/>
                    <a:pt x="424" y="1736"/>
                  </a:cubicBezTo>
                  <a:cubicBezTo>
                    <a:pt x="429" y="1768"/>
                    <a:pt x="430" y="1800"/>
                    <a:pt x="433" y="1832"/>
                  </a:cubicBezTo>
                  <a:cubicBezTo>
                    <a:pt x="436" y="1867"/>
                    <a:pt x="440" y="1901"/>
                    <a:pt x="443" y="1936"/>
                  </a:cubicBezTo>
                  <a:cubicBezTo>
                    <a:pt x="447" y="1970"/>
                    <a:pt x="451" y="2004"/>
                    <a:pt x="455" y="2039"/>
                  </a:cubicBezTo>
                  <a:cubicBezTo>
                    <a:pt x="458" y="2067"/>
                    <a:pt x="457" y="2096"/>
                    <a:pt x="459" y="2124"/>
                  </a:cubicBezTo>
                  <a:cubicBezTo>
                    <a:pt x="460" y="2144"/>
                    <a:pt x="468" y="2163"/>
                    <a:pt x="471" y="2183"/>
                  </a:cubicBezTo>
                  <a:cubicBezTo>
                    <a:pt x="472" y="2192"/>
                    <a:pt x="471" y="2201"/>
                    <a:pt x="472" y="2210"/>
                  </a:cubicBezTo>
                  <a:cubicBezTo>
                    <a:pt x="472" y="2218"/>
                    <a:pt x="479" y="2223"/>
                    <a:pt x="478" y="2230"/>
                  </a:cubicBezTo>
                  <a:cubicBezTo>
                    <a:pt x="477" y="2234"/>
                    <a:pt x="478" y="2238"/>
                    <a:pt x="477" y="2243"/>
                  </a:cubicBezTo>
                  <a:cubicBezTo>
                    <a:pt x="477" y="2246"/>
                    <a:pt x="473" y="2245"/>
                    <a:pt x="471" y="2246"/>
                  </a:cubicBezTo>
                  <a:cubicBezTo>
                    <a:pt x="469" y="2248"/>
                    <a:pt x="469" y="2256"/>
                    <a:pt x="469" y="2259"/>
                  </a:cubicBezTo>
                  <a:cubicBezTo>
                    <a:pt x="468" y="2266"/>
                    <a:pt x="468" y="2274"/>
                    <a:pt x="468" y="2282"/>
                  </a:cubicBezTo>
                  <a:cubicBezTo>
                    <a:pt x="467" y="2289"/>
                    <a:pt x="468" y="2295"/>
                    <a:pt x="476" y="2298"/>
                  </a:cubicBezTo>
                  <a:cubicBezTo>
                    <a:pt x="480" y="2300"/>
                    <a:pt x="484" y="2303"/>
                    <a:pt x="489" y="2304"/>
                  </a:cubicBezTo>
                  <a:cubicBezTo>
                    <a:pt x="491" y="2305"/>
                    <a:pt x="497" y="2301"/>
                    <a:pt x="498" y="2302"/>
                  </a:cubicBezTo>
                  <a:cubicBezTo>
                    <a:pt x="501" y="2305"/>
                    <a:pt x="488" y="2317"/>
                    <a:pt x="497" y="2323"/>
                  </a:cubicBezTo>
                  <a:cubicBezTo>
                    <a:pt x="505" y="2329"/>
                    <a:pt x="519" y="2329"/>
                    <a:pt x="529" y="2330"/>
                  </a:cubicBezTo>
                  <a:cubicBezTo>
                    <a:pt x="550" y="2334"/>
                    <a:pt x="572" y="2335"/>
                    <a:pt x="594" y="2334"/>
                  </a:cubicBezTo>
                  <a:cubicBezTo>
                    <a:pt x="607" y="2333"/>
                    <a:pt x="620" y="2331"/>
                    <a:pt x="634" y="2331"/>
                  </a:cubicBezTo>
                  <a:cubicBezTo>
                    <a:pt x="645" y="2331"/>
                    <a:pt x="640" y="2319"/>
                    <a:pt x="634" y="2314"/>
                  </a:cubicBezTo>
                  <a:cubicBezTo>
                    <a:pt x="631" y="2312"/>
                    <a:pt x="630" y="2313"/>
                    <a:pt x="630" y="2309"/>
                  </a:cubicBezTo>
                  <a:cubicBezTo>
                    <a:pt x="630" y="2304"/>
                    <a:pt x="630" y="2298"/>
                    <a:pt x="629" y="2293"/>
                  </a:cubicBezTo>
                  <a:cubicBezTo>
                    <a:pt x="625" y="2283"/>
                    <a:pt x="615" y="2275"/>
                    <a:pt x="611" y="2265"/>
                  </a:cubicBezTo>
                  <a:cubicBezTo>
                    <a:pt x="606" y="2255"/>
                    <a:pt x="597" y="2249"/>
                    <a:pt x="594" y="2238"/>
                  </a:cubicBezTo>
                  <a:cubicBezTo>
                    <a:pt x="590" y="2228"/>
                    <a:pt x="591" y="2228"/>
                    <a:pt x="597" y="2219"/>
                  </a:cubicBezTo>
                  <a:cubicBezTo>
                    <a:pt x="604" y="2208"/>
                    <a:pt x="600" y="2196"/>
                    <a:pt x="598" y="2184"/>
                  </a:cubicBezTo>
                  <a:cubicBezTo>
                    <a:pt x="596" y="2174"/>
                    <a:pt x="595" y="2163"/>
                    <a:pt x="594" y="2152"/>
                  </a:cubicBezTo>
                  <a:cubicBezTo>
                    <a:pt x="592" y="2132"/>
                    <a:pt x="584" y="2106"/>
                    <a:pt x="593" y="2087"/>
                  </a:cubicBezTo>
                  <a:cubicBezTo>
                    <a:pt x="599" y="2074"/>
                    <a:pt x="597" y="2057"/>
                    <a:pt x="598" y="2043"/>
                  </a:cubicBezTo>
                  <a:cubicBezTo>
                    <a:pt x="598" y="2006"/>
                    <a:pt x="597" y="1969"/>
                    <a:pt x="596" y="1932"/>
                  </a:cubicBezTo>
                  <a:cubicBezTo>
                    <a:pt x="596" y="1891"/>
                    <a:pt x="595" y="1851"/>
                    <a:pt x="591" y="1810"/>
                  </a:cubicBezTo>
                  <a:cubicBezTo>
                    <a:pt x="590" y="1792"/>
                    <a:pt x="587" y="1773"/>
                    <a:pt x="586" y="1754"/>
                  </a:cubicBezTo>
                  <a:cubicBezTo>
                    <a:pt x="584" y="1732"/>
                    <a:pt x="585" y="1711"/>
                    <a:pt x="582" y="1689"/>
                  </a:cubicBezTo>
                  <a:cubicBezTo>
                    <a:pt x="579" y="1666"/>
                    <a:pt x="583" y="1642"/>
                    <a:pt x="584" y="1619"/>
                  </a:cubicBezTo>
                  <a:cubicBezTo>
                    <a:pt x="584" y="1586"/>
                    <a:pt x="589" y="1553"/>
                    <a:pt x="592" y="1520"/>
                  </a:cubicBezTo>
                  <a:cubicBezTo>
                    <a:pt x="596" y="1465"/>
                    <a:pt x="584" y="1412"/>
                    <a:pt x="584" y="1357"/>
                  </a:cubicBezTo>
                  <a:cubicBezTo>
                    <a:pt x="584" y="1352"/>
                    <a:pt x="583" y="1341"/>
                    <a:pt x="588" y="1338"/>
                  </a:cubicBezTo>
                  <a:cubicBezTo>
                    <a:pt x="592" y="1336"/>
                    <a:pt x="597" y="1335"/>
                    <a:pt x="601" y="1332"/>
                  </a:cubicBezTo>
                  <a:cubicBezTo>
                    <a:pt x="607" y="1329"/>
                    <a:pt x="615" y="1328"/>
                    <a:pt x="619" y="1324"/>
                  </a:cubicBezTo>
                  <a:cubicBezTo>
                    <a:pt x="622" y="1321"/>
                    <a:pt x="624" y="1319"/>
                    <a:pt x="629" y="1319"/>
                  </a:cubicBezTo>
                  <a:cubicBezTo>
                    <a:pt x="635" y="1318"/>
                    <a:pt x="636" y="1314"/>
                    <a:pt x="637" y="1309"/>
                  </a:cubicBezTo>
                  <a:cubicBezTo>
                    <a:pt x="639" y="1305"/>
                    <a:pt x="641" y="1304"/>
                    <a:pt x="645" y="1302"/>
                  </a:cubicBezTo>
                  <a:cubicBezTo>
                    <a:pt x="651" y="1300"/>
                    <a:pt x="652" y="1293"/>
                    <a:pt x="654" y="1288"/>
                  </a:cubicBezTo>
                  <a:cubicBezTo>
                    <a:pt x="656" y="1278"/>
                    <a:pt x="657" y="1268"/>
                    <a:pt x="660" y="1258"/>
                  </a:cubicBezTo>
                  <a:cubicBezTo>
                    <a:pt x="663" y="1247"/>
                    <a:pt x="661" y="1232"/>
                    <a:pt x="661" y="1220"/>
                  </a:cubicBezTo>
                  <a:cubicBezTo>
                    <a:pt x="661" y="1218"/>
                    <a:pt x="659" y="1207"/>
                    <a:pt x="661" y="1207"/>
                  </a:cubicBezTo>
                  <a:cubicBezTo>
                    <a:pt x="663" y="1207"/>
                    <a:pt x="666" y="1205"/>
                    <a:pt x="665" y="1203"/>
                  </a:cubicBezTo>
                  <a:cubicBezTo>
                    <a:pt x="665" y="1200"/>
                    <a:pt x="663" y="1199"/>
                    <a:pt x="663" y="1196"/>
                  </a:cubicBezTo>
                  <a:cubicBezTo>
                    <a:pt x="664" y="1189"/>
                    <a:pt x="667" y="1185"/>
                    <a:pt x="667" y="1178"/>
                  </a:cubicBezTo>
                  <a:cubicBezTo>
                    <a:pt x="666" y="1173"/>
                    <a:pt x="666" y="1167"/>
                    <a:pt x="663" y="1164"/>
                  </a:cubicBezTo>
                  <a:cubicBezTo>
                    <a:pt x="659" y="1158"/>
                    <a:pt x="664" y="1160"/>
                    <a:pt x="667" y="1156"/>
                  </a:cubicBezTo>
                  <a:cubicBezTo>
                    <a:pt x="671" y="1150"/>
                    <a:pt x="670" y="1138"/>
                    <a:pt x="668" y="1131"/>
                  </a:cubicBezTo>
                  <a:cubicBezTo>
                    <a:pt x="667" y="1127"/>
                    <a:pt x="665" y="1127"/>
                    <a:pt x="663" y="1123"/>
                  </a:cubicBezTo>
                  <a:cubicBezTo>
                    <a:pt x="661" y="1119"/>
                    <a:pt x="667" y="1112"/>
                    <a:pt x="669" y="1109"/>
                  </a:cubicBezTo>
                  <a:cubicBezTo>
                    <a:pt x="671" y="1103"/>
                    <a:pt x="673" y="1096"/>
                    <a:pt x="671" y="1089"/>
                  </a:cubicBezTo>
                  <a:cubicBezTo>
                    <a:pt x="670" y="1082"/>
                    <a:pt x="664" y="1076"/>
                    <a:pt x="667" y="1068"/>
                  </a:cubicBezTo>
                  <a:cubicBezTo>
                    <a:pt x="670" y="1062"/>
                    <a:pt x="674" y="1058"/>
                    <a:pt x="675" y="1052"/>
                  </a:cubicBezTo>
                  <a:cubicBezTo>
                    <a:pt x="676" y="1046"/>
                    <a:pt x="676" y="1041"/>
                    <a:pt x="676" y="1035"/>
                  </a:cubicBezTo>
                  <a:cubicBezTo>
                    <a:pt x="676" y="1022"/>
                    <a:pt x="680" y="1011"/>
                    <a:pt x="676" y="998"/>
                  </a:cubicBezTo>
                  <a:moveTo>
                    <a:pt x="95" y="1318"/>
                  </a:moveTo>
                  <a:cubicBezTo>
                    <a:pt x="91" y="1319"/>
                    <a:pt x="87" y="1323"/>
                    <a:pt x="86" y="1318"/>
                  </a:cubicBezTo>
                  <a:cubicBezTo>
                    <a:pt x="85" y="1310"/>
                    <a:pt x="85" y="1301"/>
                    <a:pt x="82" y="1294"/>
                  </a:cubicBezTo>
                  <a:cubicBezTo>
                    <a:pt x="80" y="1292"/>
                    <a:pt x="82" y="1291"/>
                    <a:pt x="83" y="1290"/>
                  </a:cubicBezTo>
                  <a:cubicBezTo>
                    <a:pt x="84" y="1286"/>
                    <a:pt x="81" y="1281"/>
                    <a:pt x="81" y="1278"/>
                  </a:cubicBezTo>
                  <a:cubicBezTo>
                    <a:pt x="80" y="1272"/>
                    <a:pt x="79" y="1266"/>
                    <a:pt x="86" y="1265"/>
                  </a:cubicBezTo>
                  <a:cubicBezTo>
                    <a:pt x="87" y="1265"/>
                    <a:pt x="94" y="1260"/>
                    <a:pt x="95" y="1262"/>
                  </a:cubicBezTo>
                  <a:cubicBezTo>
                    <a:pt x="98" y="1267"/>
                    <a:pt x="96" y="1278"/>
                    <a:pt x="96" y="1283"/>
                  </a:cubicBezTo>
                  <a:cubicBezTo>
                    <a:pt x="97" y="1291"/>
                    <a:pt x="97" y="1299"/>
                    <a:pt x="98" y="1307"/>
                  </a:cubicBezTo>
                  <a:cubicBezTo>
                    <a:pt x="99" y="1313"/>
                    <a:pt x="102" y="1316"/>
                    <a:pt x="95" y="1318"/>
                  </a:cubicBezTo>
                  <a:moveTo>
                    <a:pt x="146" y="764"/>
                  </a:moveTo>
                  <a:cubicBezTo>
                    <a:pt x="146" y="772"/>
                    <a:pt x="143" y="781"/>
                    <a:pt x="142" y="790"/>
                  </a:cubicBezTo>
                  <a:cubicBezTo>
                    <a:pt x="141" y="800"/>
                    <a:pt x="143" y="810"/>
                    <a:pt x="145" y="821"/>
                  </a:cubicBezTo>
                  <a:cubicBezTo>
                    <a:pt x="146" y="828"/>
                    <a:pt x="147" y="836"/>
                    <a:pt x="145" y="844"/>
                  </a:cubicBezTo>
                  <a:cubicBezTo>
                    <a:pt x="144" y="853"/>
                    <a:pt x="140" y="862"/>
                    <a:pt x="139" y="872"/>
                  </a:cubicBezTo>
                  <a:cubicBezTo>
                    <a:pt x="139" y="882"/>
                    <a:pt x="139" y="893"/>
                    <a:pt x="138" y="904"/>
                  </a:cubicBezTo>
                  <a:cubicBezTo>
                    <a:pt x="137" y="913"/>
                    <a:pt x="134" y="922"/>
                    <a:pt x="135" y="931"/>
                  </a:cubicBezTo>
                  <a:cubicBezTo>
                    <a:pt x="135" y="940"/>
                    <a:pt x="142" y="948"/>
                    <a:pt x="139" y="958"/>
                  </a:cubicBezTo>
                  <a:cubicBezTo>
                    <a:pt x="137" y="969"/>
                    <a:pt x="131" y="980"/>
                    <a:pt x="128" y="991"/>
                  </a:cubicBezTo>
                  <a:cubicBezTo>
                    <a:pt x="125" y="999"/>
                    <a:pt x="123" y="1007"/>
                    <a:pt x="122" y="1016"/>
                  </a:cubicBezTo>
                  <a:cubicBezTo>
                    <a:pt x="120" y="1023"/>
                    <a:pt x="116" y="1029"/>
                    <a:pt x="114" y="1036"/>
                  </a:cubicBezTo>
                  <a:cubicBezTo>
                    <a:pt x="110" y="1050"/>
                    <a:pt x="108" y="1065"/>
                    <a:pt x="106" y="1080"/>
                  </a:cubicBezTo>
                  <a:cubicBezTo>
                    <a:pt x="104" y="1087"/>
                    <a:pt x="96" y="1090"/>
                    <a:pt x="104" y="1095"/>
                  </a:cubicBezTo>
                  <a:cubicBezTo>
                    <a:pt x="108" y="1099"/>
                    <a:pt x="104" y="1113"/>
                    <a:pt x="103" y="1118"/>
                  </a:cubicBezTo>
                  <a:cubicBezTo>
                    <a:pt x="103" y="1120"/>
                    <a:pt x="101" y="1141"/>
                    <a:pt x="99" y="1142"/>
                  </a:cubicBezTo>
                  <a:cubicBezTo>
                    <a:pt x="96" y="1142"/>
                    <a:pt x="91" y="1128"/>
                    <a:pt x="91" y="1125"/>
                  </a:cubicBezTo>
                  <a:cubicBezTo>
                    <a:pt x="91" y="1119"/>
                    <a:pt x="92" y="1114"/>
                    <a:pt x="93" y="1108"/>
                  </a:cubicBezTo>
                  <a:cubicBezTo>
                    <a:pt x="93" y="1104"/>
                    <a:pt x="91" y="1099"/>
                    <a:pt x="92" y="1095"/>
                  </a:cubicBezTo>
                  <a:cubicBezTo>
                    <a:pt x="98" y="1080"/>
                    <a:pt x="100" y="1065"/>
                    <a:pt x="104" y="1050"/>
                  </a:cubicBezTo>
                  <a:cubicBezTo>
                    <a:pt x="106" y="1042"/>
                    <a:pt x="108" y="1034"/>
                    <a:pt x="110" y="1026"/>
                  </a:cubicBezTo>
                  <a:cubicBezTo>
                    <a:pt x="112" y="1018"/>
                    <a:pt x="118" y="1008"/>
                    <a:pt x="117" y="1000"/>
                  </a:cubicBezTo>
                  <a:cubicBezTo>
                    <a:pt x="117" y="994"/>
                    <a:pt x="115" y="988"/>
                    <a:pt x="117" y="982"/>
                  </a:cubicBezTo>
                  <a:cubicBezTo>
                    <a:pt x="118" y="977"/>
                    <a:pt x="120" y="973"/>
                    <a:pt x="121" y="969"/>
                  </a:cubicBezTo>
                  <a:cubicBezTo>
                    <a:pt x="123" y="958"/>
                    <a:pt x="122" y="947"/>
                    <a:pt x="124" y="936"/>
                  </a:cubicBezTo>
                  <a:cubicBezTo>
                    <a:pt x="126" y="924"/>
                    <a:pt x="130" y="918"/>
                    <a:pt x="126" y="906"/>
                  </a:cubicBezTo>
                  <a:cubicBezTo>
                    <a:pt x="124" y="897"/>
                    <a:pt x="129" y="888"/>
                    <a:pt x="132" y="879"/>
                  </a:cubicBezTo>
                  <a:cubicBezTo>
                    <a:pt x="135" y="868"/>
                    <a:pt x="133" y="860"/>
                    <a:pt x="133" y="849"/>
                  </a:cubicBezTo>
                  <a:cubicBezTo>
                    <a:pt x="132" y="842"/>
                    <a:pt x="129" y="832"/>
                    <a:pt x="131" y="825"/>
                  </a:cubicBezTo>
                  <a:cubicBezTo>
                    <a:pt x="137" y="805"/>
                    <a:pt x="133" y="784"/>
                    <a:pt x="137" y="764"/>
                  </a:cubicBezTo>
                  <a:cubicBezTo>
                    <a:pt x="140" y="753"/>
                    <a:pt x="142" y="743"/>
                    <a:pt x="144" y="733"/>
                  </a:cubicBezTo>
                  <a:cubicBezTo>
                    <a:pt x="144" y="731"/>
                    <a:pt x="145" y="722"/>
                    <a:pt x="147" y="720"/>
                  </a:cubicBezTo>
                  <a:cubicBezTo>
                    <a:pt x="147" y="721"/>
                    <a:pt x="147" y="731"/>
                    <a:pt x="147" y="732"/>
                  </a:cubicBezTo>
                  <a:cubicBezTo>
                    <a:pt x="147" y="736"/>
                    <a:pt x="148" y="738"/>
                    <a:pt x="148" y="742"/>
                  </a:cubicBezTo>
                  <a:cubicBezTo>
                    <a:pt x="150" y="749"/>
                    <a:pt x="147" y="756"/>
                    <a:pt x="146" y="764"/>
                  </a:cubicBezTo>
                  <a:moveTo>
                    <a:pt x="565" y="1169"/>
                  </a:moveTo>
                  <a:cubicBezTo>
                    <a:pt x="567" y="1152"/>
                    <a:pt x="564" y="1133"/>
                    <a:pt x="562" y="1116"/>
                  </a:cubicBezTo>
                  <a:cubicBezTo>
                    <a:pt x="561" y="1109"/>
                    <a:pt x="557" y="1103"/>
                    <a:pt x="563" y="1097"/>
                  </a:cubicBezTo>
                  <a:cubicBezTo>
                    <a:pt x="565" y="1095"/>
                    <a:pt x="571" y="1093"/>
                    <a:pt x="567" y="1088"/>
                  </a:cubicBezTo>
                  <a:cubicBezTo>
                    <a:pt x="564" y="1085"/>
                    <a:pt x="562" y="1087"/>
                    <a:pt x="561" y="1083"/>
                  </a:cubicBezTo>
                  <a:cubicBezTo>
                    <a:pt x="555" y="1062"/>
                    <a:pt x="549" y="1042"/>
                    <a:pt x="546" y="1020"/>
                  </a:cubicBezTo>
                  <a:cubicBezTo>
                    <a:pt x="543" y="994"/>
                    <a:pt x="534" y="969"/>
                    <a:pt x="535" y="943"/>
                  </a:cubicBezTo>
                  <a:cubicBezTo>
                    <a:pt x="535" y="924"/>
                    <a:pt x="533" y="904"/>
                    <a:pt x="533" y="885"/>
                  </a:cubicBezTo>
                  <a:cubicBezTo>
                    <a:pt x="533" y="863"/>
                    <a:pt x="534" y="840"/>
                    <a:pt x="534" y="817"/>
                  </a:cubicBezTo>
                  <a:cubicBezTo>
                    <a:pt x="534" y="797"/>
                    <a:pt x="533" y="778"/>
                    <a:pt x="534" y="758"/>
                  </a:cubicBezTo>
                  <a:cubicBezTo>
                    <a:pt x="534" y="750"/>
                    <a:pt x="534" y="741"/>
                    <a:pt x="535" y="733"/>
                  </a:cubicBezTo>
                  <a:cubicBezTo>
                    <a:pt x="536" y="728"/>
                    <a:pt x="537" y="722"/>
                    <a:pt x="537" y="717"/>
                  </a:cubicBezTo>
                  <a:cubicBezTo>
                    <a:pt x="537" y="715"/>
                    <a:pt x="537" y="710"/>
                    <a:pt x="538" y="709"/>
                  </a:cubicBezTo>
                  <a:cubicBezTo>
                    <a:pt x="537" y="710"/>
                    <a:pt x="545" y="727"/>
                    <a:pt x="546" y="729"/>
                  </a:cubicBezTo>
                  <a:cubicBezTo>
                    <a:pt x="549" y="739"/>
                    <a:pt x="549" y="749"/>
                    <a:pt x="550" y="760"/>
                  </a:cubicBezTo>
                  <a:cubicBezTo>
                    <a:pt x="550" y="769"/>
                    <a:pt x="551" y="778"/>
                    <a:pt x="553" y="787"/>
                  </a:cubicBezTo>
                  <a:cubicBezTo>
                    <a:pt x="555" y="799"/>
                    <a:pt x="553" y="810"/>
                    <a:pt x="555" y="822"/>
                  </a:cubicBezTo>
                  <a:cubicBezTo>
                    <a:pt x="556" y="836"/>
                    <a:pt x="554" y="848"/>
                    <a:pt x="554" y="862"/>
                  </a:cubicBezTo>
                  <a:cubicBezTo>
                    <a:pt x="553" y="874"/>
                    <a:pt x="555" y="887"/>
                    <a:pt x="557" y="899"/>
                  </a:cubicBezTo>
                  <a:cubicBezTo>
                    <a:pt x="558" y="908"/>
                    <a:pt x="559" y="916"/>
                    <a:pt x="562" y="925"/>
                  </a:cubicBezTo>
                  <a:cubicBezTo>
                    <a:pt x="566" y="936"/>
                    <a:pt x="565" y="952"/>
                    <a:pt x="566" y="964"/>
                  </a:cubicBezTo>
                  <a:cubicBezTo>
                    <a:pt x="566" y="978"/>
                    <a:pt x="572" y="989"/>
                    <a:pt x="573" y="1003"/>
                  </a:cubicBezTo>
                  <a:cubicBezTo>
                    <a:pt x="575" y="1015"/>
                    <a:pt x="575" y="1027"/>
                    <a:pt x="577" y="1038"/>
                  </a:cubicBezTo>
                  <a:cubicBezTo>
                    <a:pt x="579" y="1047"/>
                    <a:pt x="577" y="1053"/>
                    <a:pt x="575" y="1062"/>
                  </a:cubicBezTo>
                  <a:cubicBezTo>
                    <a:pt x="574" y="1072"/>
                    <a:pt x="580" y="1081"/>
                    <a:pt x="578" y="1090"/>
                  </a:cubicBezTo>
                  <a:cubicBezTo>
                    <a:pt x="578" y="1097"/>
                    <a:pt x="576" y="1103"/>
                    <a:pt x="576" y="1109"/>
                  </a:cubicBezTo>
                  <a:cubicBezTo>
                    <a:pt x="576" y="1115"/>
                    <a:pt x="578" y="1122"/>
                    <a:pt x="576" y="1127"/>
                  </a:cubicBezTo>
                  <a:cubicBezTo>
                    <a:pt x="574" y="1134"/>
                    <a:pt x="574" y="1136"/>
                    <a:pt x="578" y="1142"/>
                  </a:cubicBezTo>
                  <a:cubicBezTo>
                    <a:pt x="580" y="1144"/>
                    <a:pt x="584" y="1147"/>
                    <a:pt x="583" y="1150"/>
                  </a:cubicBezTo>
                  <a:cubicBezTo>
                    <a:pt x="582" y="1154"/>
                    <a:pt x="580" y="1158"/>
                    <a:pt x="578" y="1161"/>
                  </a:cubicBezTo>
                  <a:cubicBezTo>
                    <a:pt x="577" y="1163"/>
                    <a:pt x="571" y="1167"/>
                    <a:pt x="571" y="1167"/>
                  </a:cubicBezTo>
                  <a:cubicBezTo>
                    <a:pt x="571" y="1171"/>
                    <a:pt x="572" y="1173"/>
                    <a:pt x="568" y="1177"/>
                  </a:cubicBezTo>
                  <a:cubicBezTo>
                    <a:pt x="564" y="1180"/>
                    <a:pt x="565" y="1171"/>
                    <a:pt x="565" y="1169"/>
                  </a:cubicBezTo>
                  <a:moveTo>
                    <a:pt x="584" y="1252"/>
                  </a:moveTo>
                  <a:cubicBezTo>
                    <a:pt x="580" y="1259"/>
                    <a:pt x="583" y="1265"/>
                    <a:pt x="583" y="1271"/>
                  </a:cubicBezTo>
                  <a:cubicBezTo>
                    <a:pt x="583" y="1273"/>
                    <a:pt x="578" y="1289"/>
                    <a:pt x="579" y="1290"/>
                  </a:cubicBezTo>
                  <a:cubicBezTo>
                    <a:pt x="576" y="1288"/>
                    <a:pt x="576" y="1279"/>
                    <a:pt x="575" y="1276"/>
                  </a:cubicBezTo>
                  <a:cubicBezTo>
                    <a:pt x="574" y="1271"/>
                    <a:pt x="572" y="1266"/>
                    <a:pt x="572" y="1261"/>
                  </a:cubicBezTo>
                  <a:cubicBezTo>
                    <a:pt x="571" y="1257"/>
                    <a:pt x="569" y="1244"/>
                    <a:pt x="575" y="1242"/>
                  </a:cubicBezTo>
                  <a:cubicBezTo>
                    <a:pt x="577" y="1241"/>
                    <a:pt x="585" y="1249"/>
                    <a:pt x="584" y="1252"/>
                  </a:cubicBezTo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lIns="321064" tIns="160532" rIns="321064" bIns="160532"/>
            <a:lstStyle/>
            <a:p>
              <a:pPr defTabSz="321064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48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461" name="Gruppieren 281">
              <a:extLst>
                <a:ext uri="{FF2B5EF4-FFF2-40B4-BE49-F238E27FC236}">
                  <a16:creationId xmlns:a16="http://schemas.microsoft.com/office/drawing/2014/main" id="{F717ED42-174C-4482-9022-F580CEBDFEE2}"/>
                </a:ext>
              </a:extLst>
            </p:cNvPr>
            <p:cNvGrpSpPr/>
            <p:nvPr/>
          </p:nvGrpSpPr>
          <p:grpSpPr>
            <a:xfrm>
              <a:off x="2413040" y="758012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462" name="Freeform 156">
                <a:extLst>
                  <a:ext uri="{FF2B5EF4-FFF2-40B4-BE49-F238E27FC236}">
                    <a16:creationId xmlns:a16="http://schemas.microsoft.com/office/drawing/2014/main" id="{D63F8C3C-0F2E-4181-A9FB-D5A4CD4DE96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63" name="Freeform 159">
                <a:extLst>
                  <a:ext uri="{FF2B5EF4-FFF2-40B4-BE49-F238E27FC236}">
                    <a16:creationId xmlns:a16="http://schemas.microsoft.com/office/drawing/2014/main" id="{27D6FC23-94A8-4D06-B81B-67A35039E4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64" name="Freeform 160">
                <a:extLst>
                  <a:ext uri="{FF2B5EF4-FFF2-40B4-BE49-F238E27FC236}">
                    <a16:creationId xmlns:a16="http://schemas.microsoft.com/office/drawing/2014/main" id="{3B742012-5043-4600-92C9-9C81828E78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65" name="Freeform 179">
                <a:extLst>
                  <a:ext uri="{FF2B5EF4-FFF2-40B4-BE49-F238E27FC236}">
                    <a16:creationId xmlns:a16="http://schemas.microsoft.com/office/drawing/2014/main" id="{B198AA46-5122-4ADF-9A24-3180322CF5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66" name="Freeform 180">
                <a:extLst>
                  <a:ext uri="{FF2B5EF4-FFF2-40B4-BE49-F238E27FC236}">
                    <a16:creationId xmlns:a16="http://schemas.microsoft.com/office/drawing/2014/main" id="{5BC8E40A-F2D5-45D2-B301-AE00F182E9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67" name="Freeform 181">
                <a:extLst>
                  <a:ext uri="{FF2B5EF4-FFF2-40B4-BE49-F238E27FC236}">
                    <a16:creationId xmlns:a16="http://schemas.microsoft.com/office/drawing/2014/main" id="{6D58F4D7-6AB8-4DB3-9168-2516449575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68" name="Freeform 182">
                <a:extLst>
                  <a:ext uri="{FF2B5EF4-FFF2-40B4-BE49-F238E27FC236}">
                    <a16:creationId xmlns:a16="http://schemas.microsoft.com/office/drawing/2014/main" id="{C95AFA48-1193-45D5-B25B-16A208349D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69" name="Freeform 183">
                <a:extLst>
                  <a:ext uri="{FF2B5EF4-FFF2-40B4-BE49-F238E27FC236}">
                    <a16:creationId xmlns:a16="http://schemas.microsoft.com/office/drawing/2014/main" id="{9C04F38B-41F6-4DDC-99D2-EC07E32E24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0" name="Freeform 184">
                <a:extLst>
                  <a:ext uri="{FF2B5EF4-FFF2-40B4-BE49-F238E27FC236}">
                    <a16:creationId xmlns:a16="http://schemas.microsoft.com/office/drawing/2014/main" id="{37149684-FD4A-4A47-B2CA-AAC47A71B4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1" name="Freeform 185">
                <a:extLst>
                  <a:ext uri="{FF2B5EF4-FFF2-40B4-BE49-F238E27FC236}">
                    <a16:creationId xmlns:a16="http://schemas.microsoft.com/office/drawing/2014/main" id="{72FBFB17-CB68-4387-B708-7449733D70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2" name="Freeform 186">
                <a:extLst>
                  <a:ext uri="{FF2B5EF4-FFF2-40B4-BE49-F238E27FC236}">
                    <a16:creationId xmlns:a16="http://schemas.microsoft.com/office/drawing/2014/main" id="{6B9F7E62-EEAF-4D0C-AAA9-5FD37FFF21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3" name="Freeform 187">
                <a:extLst>
                  <a:ext uri="{FF2B5EF4-FFF2-40B4-BE49-F238E27FC236}">
                    <a16:creationId xmlns:a16="http://schemas.microsoft.com/office/drawing/2014/main" id="{DEB1EF99-9729-44A9-BA16-056165707B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4" name="Freeform 157">
                <a:extLst>
                  <a:ext uri="{FF2B5EF4-FFF2-40B4-BE49-F238E27FC236}">
                    <a16:creationId xmlns:a16="http://schemas.microsoft.com/office/drawing/2014/main" id="{4B8F66D4-9E1C-409E-91A2-0951FD078C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5" name="Freeform 158">
                <a:extLst>
                  <a:ext uri="{FF2B5EF4-FFF2-40B4-BE49-F238E27FC236}">
                    <a16:creationId xmlns:a16="http://schemas.microsoft.com/office/drawing/2014/main" id="{32FD350C-924F-4EF9-919E-0B5D0B750F4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6" name="Freeform 161">
                <a:extLst>
                  <a:ext uri="{FF2B5EF4-FFF2-40B4-BE49-F238E27FC236}">
                    <a16:creationId xmlns:a16="http://schemas.microsoft.com/office/drawing/2014/main" id="{2A14D27D-D018-467D-B97B-834C29866C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7" name="Freeform 162">
                <a:extLst>
                  <a:ext uri="{FF2B5EF4-FFF2-40B4-BE49-F238E27FC236}">
                    <a16:creationId xmlns:a16="http://schemas.microsoft.com/office/drawing/2014/main" id="{62F93BF6-26FD-4C55-A44C-DAFB31EA10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8" name="Freeform 163">
                <a:extLst>
                  <a:ext uri="{FF2B5EF4-FFF2-40B4-BE49-F238E27FC236}">
                    <a16:creationId xmlns:a16="http://schemas.microsoft.com/office/drawing/2014/main" id="{4805E4E0-FBB8-47A4-ACF7-DFD032DC7B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9" name="Freeform 164">
                <a:extLst>
                  <a:ext uri="{FF2B5EF4-FFF2-40B4-BE49-F238E27FC236}">
                    <a16:creationId xmlns:a16="http://schemas.microsoft.com/office/drawing/2014/main" id="{912F293C-A730-4154-A078-2F4562100C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0" name="Freeform 165">
                <a:extLst>
                  <a:ext uri="{FF2B5EF4-FFF2-40B4-BE49-F238E27FC236}">
                    <a16:creationId xmlns:a16="http://schemas.microsoft.com/office/drawing/2014/main" id="{CB99936A-8704-42A6-8508-5F36BC2C6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1" name="Freeform 166">
                <a:extLst>
                  <a:ext uri="{FF2B5EF4-FFF2-40B4-BE49-F238E27FC236}">
                    <a16:creationId xmlns:a16="http://schemas.microsoft.com/office/drawing/2014/main" id="{D0B0DF47-7726-4DE6-8178-81DD49FA2D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2" name="Freeform 167">
                <a:extLst>
                  <a:ext uri="{FF2B5EF4-FFF2-40B4-BE49-F238E27FC236}">
                    <a16:creationId xmlns:a16="http://schemas.microsoft.com/office/drawing/2014/main" id="{B3C4F0CA-B902-4A66-B5A9-16727EF8C7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3" name="Freeform 168">
                <a:extLst>
                  <a:ext uri="{FF2B5EF4-FFF2-40B4-BE49-F238E27FC236}">
                    <a16:creationId xmlns:a16="http://schemas.microsoft.com/office/drawing/2014/main" id="{1FA923C3-D5AC-4C29-A859-2A20962B8C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4" name="Freeform 169">
                <a:extLst>
                  <a:ext uri="{FF2B5EF4-FFF2-40B4-BE49-F238E27FC236}">
                    <a16:creationId xmlns:a16="http://schemas.microsoft.com/office/drawing/2014/main" id="{221D342A-35D7-432B-8A44-6443E99768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5" name="Freeform 170">
                <a:extLst>
                  <a:ext uri="{FF2B5EF4-FFF2-40B4-BE49-F238E27FC236}">
                    <a16:creationId xmlns:a16="http://schemas.microsoft.com/office/drawing/2014/main" id="{D2DC16EF-16A8-42B8-B36B-B92DB369D8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6" name="Freeform 171">
                <a:extLst>
                  <a:ext uri="{FF2B5EF4-FFF2-40B4-BE49-F238E27FC236}">
                    <a16:creationId xmlns:a16="http://schemas.microsoft.com/office/drawing/2014/main" id="{1F44E2CC-1AC8-4D2D-8B1C-E111AAB89C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7" name="Freeform 172">
                <a:extLst>
                  <a:ext uri="{FF2B5EF4-FFF2-40B4-BE49-F238E27FC236}">
                    <a16:creationId xmlns:a16="http://schemas.microsoft.com/office/drawing/2014/main" id="{4FA0C51F-EA64-405A-84E8-AD91418614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8" name="Freeform 173">
                <a:extLst>
                  <a:ext uri="{FF2B5EF4-FFF2-40B4-BE49-F238E27FC236}">
                    <a16:creationId xmlns:a16="http://schemas.microsoft.com/office/drawing/2014/main" id="{0D160D4E-54E4-4757-959C-527AD49F40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9" name="Freeform 174">
                <a:extLst>
                  <a:ext uri="{FF2B5EF4-FFF2-40B4-BE49-F238E27FC236}">
                    <a16:creationId xmlns:a16="http://schemas.microsoft.com/office/drawing/2014/main" id="{86BF721D-0A51-402B-B118-4AD6C88EA4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0" name="Freeform 175">
                <a:extLst>
                  <a:ext uri="{FF2B5EF4-FFF2-40B4-BE49-F238E27FC236}">
                    <a16:creationId xmlns:a16="http://schemas.microsoft.com/office/drawing/2014/main" id="{CF601F92-155E-40B4-9805-607CCFD8BD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1" name="Freeform 176">
                <a:extLst>
                  <a:ext uri="{FF2B5EF4-FFF2-40B4-BE49-F238E27FC236}">
                    <a16:creationId xmlns:a16="http://schemas.microsoft.com/office/drawing/2014/main" id="{D4C9C10E-C87E-448D-AA92-1DFC7222FF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2" name="Freeform 177">
                <a:extLst>
                  <a:ext uri="{FF2B5EF4-FFF2-40B4-BE49-F238E27FC236}">
                    <a16:creationId xmlns:a16="http://schemas.microsoft.com/office/drawing/2014/main" id="{DE58C3B6-7D77-4974-A373-F42770B2DD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3" name="Freeform 178">
                <a:extLst>
                  <a:ext uri="{FF2B5EF4-FFF2-40B4-BE49-F238E27FC236}">
                    <a16:creationId xmlns:a16="http://schemas.microsoft.com/office/drawing/2014/main" id="{045A3AB6-C91D-468B-843A-079A9BDB76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4" name="Freeform 188">
                <a:extLst>
                  <a:ext uri="{FF2B5EF4-FFF2-40B4-BE49-F238E27FC236}">
                    <a16:creationId xmlns:a16="http://schemas.microsoft.com/office/drawing/2014/main" id="{DB2C3656-7A18-4E3E-94FA-5B53FBC2BD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5" name="Freeform 103">
                <a:extLst>
                  <a:ext uri="{FF2B5EF4-FFF2-40B4-BE49-F238E27FC236}">
                    <a16:creationId xmlns:a16="http://schemas.microsoft.com/office/drawing/2014/main" id="{F5E93690-0527-406C-B2AA-5623109CAC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6" name="Freeform 104">
                <a:extLst>
                  <a:ext uri="{FF2B5EF4-FFF2-40B4-BE49-F238E27FC236}">
                    <a16:creationId xmlns:a16="http://schemas.microsoft.com/office/drawing/2014/main" id="{D74E52BA-A858-487F-8C59-7509F0631498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sp>
        <p:nvSpPr>
          <p:cNvPr id="531" name="Rectangle 530">
            <a:extLst>
              <a:ext uri="{FF2B5EF4-FFF2-40B4-BE49-F238E27FC236}">
                <a16:creationId xmlns:a16="http://schemas.microsoft.com/office/drawing/2014/main" id="{4323A6CD-0F42-4D16-B076-DA453638024F}"/>
              </a:ext>
            </a:extLst>
          </p:cNvPr>
          <p:cNvSpPr/>
          <p:nvPr/>
        </p:nvSpPr>
        <p:spPr>
          <a:xfrm>
            <a:off x="4763" y="27764695"/>
            <a:ext cx="42803762" cy="2538412"/>
          </a:xfrm>
          <a:prstGeom prst="rect">
            <a:avLst/>
          </a:prstGeom>
          <a:solidFill>
            <a:srgbClr val="2734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659" name="Picture 3" descr="C:\Users\F375001\Documents\EVERGREEN\ARCHITECTURE DE REFERENCE - WEBSITE\ELEMENTS\QUOTE.png">
            <a:extLst>
              <a:ext uri="{FF2B5EF4-FFF2-40B4-BE49-F238E27FC236}">
                <a16:creationId xmlns:a16="http://schemas.microsoft.com/office/drawing/2014/main" id="{5C0AAF8F-6F59-46F2-A142-5F5450D54E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68475" y="528527"/>
            <a:ext cx="1060450" cy="1062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0" name="Picture 3" descr="C:\Users\F375001\Documents\EVERGREEN\ARCHITECTURE DE REFERENCE - WEBSITE\ELEMENTS\QUOTE.png">
            <a:extLst>
              <a:ext uri="{FF2B5EF4-FFF2-40B4-BE49-F238E27FC236}">
                <a16:creationId xmlns:a16="http://schemas.microsoft.com/office/drawing/2014/main" id="{4EEEE0A0-8D96-45DA-8808-52931486A6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07910" y="1884215"/>
            <a:ext cx="1062037" cy="1060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1" name="Picture 3" descr="C:\Users\F375001\Documents\EVERGREEN\ARCHITECTURE DE REFERENCE - WEBSITE\ELEMENTS\QUOTE.png">
            <a:extLst>
              <a:ext uri="{FF2B5EF4-FFF2-40B4-BE49-F238E27FC236}">
                <a16:creationId xmlns:a16="http://schemas.microsoft.com/office/drawing/2014/main" id="{85A1E4C4-2805-4A07-BACB-5688934F2E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19555" y="24810167"/>
            <a:ext cx="1060450" cy="1062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2" name="Picture 3" descr="C:\Users\F375001\Documents\EVERGREEN\ARCHITECTURE DE REFERENCE - WEBSITE\ELEMENTS\QUOTE.png">
            <a:extLst>
              <a:ext uri="{FF2B5EF4-FFF2-40B4-BE49-F238E27FC236}">
                <a16:creationId xmlns:a16="http://schemas.microsoft.com/office/drawing/2014/main" id="{2DFB1E76-5C18-47E4-9DC1-92F7542EED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8179" y="25719734"/>
            <a:ext cx="1062037" cy="1060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4" name="Graphique 663">
            <a:extLst>
              <a:ext uri="{FF2B5EF4-FFF2-40B4-BE49-F238E27FC236}">
                <a16:creationId xmlns:a16="http://schemas.microsoft.com/office/drawing/2014/main" id="{E8FAA978-720B-4565-831D-2CF877C3B94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159398" y="16997805"/>
            <a:ext cx="3244842" cy="3240000"/>
          </a:xfrm>
          <a:prstGeom prst="rect">
            <a:avLst/>
          </a:prstGeom>
        </p:spPr>
      </p:pic>
      <p:sp>
        <p:nvSpPr>
          <p:cNvPr id="665" name="Ellipse 664">
            <a:extLst>
              <a:ext uri="{FF2B5EF4-FFF2-40B4-BE49-F238E27FC236}">
                <a16:creationId xmlns:a16="http://schemas.microsoft.com/office/drawing/2014/main" id="{AFF1B6BD-CE41-4796-A737-879F0C8A270D}"/>
              </a:ext>
            </a:extLst>
          </p:cNvPr>
          <p:cNvSpPr/>
          <p:nvPr/>
        </p:nvSpPr>
        <p:spPr>
          <a:xfrm>
            <a:off x="12380412" y="24229072"/>
            <a:ext cx="2541588" cy="2551112"/>
          </a:xfrm>
          <a:prstGeom prst="ellipse">
            <a:avLst/>
          </a:prstGeom>
          <a:solidFill>
            <a:schemeClr val="bg1"/>
          </a:solidFill>
          <a:ln w="2032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8538" tIns="168538" rIns="168538" bIns="168538" anchor="ctr"/>
          <a:lstStyle/>
          <a:p>
            <a:pPr algn="ctr" defTabSz="428075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dirty="0">
                <a:solidFill>
                  <a:srgbClr val="FFC000"/>
                </a:solidFill>
                <a:latin typeface="Michelin SemiBold"/>
              </a:rPr>
              <a:t>DELIVERY</a:t>
            </a:r>
          </a:p>
          <a:p>
            <a:pPr algn="ctr" defTabSz="428075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dirty="0">
                <a:solidFill>
                  <a:srgbClr val="FFC000"/>
                </a:solidFill>
                <a:latin typeface="Michelin SemiBold"/>
              </a:rPr>
              <a:t>SQUAD(s)</a:t>
            </a:r>
          </a:p>
        </p:txBody>
      </p:sp>
      <p:pic>
        <p:nvPicPr>
          <p:cNvPr id="666" name="Graphique 665">
            <a:extLst>
              <a:ext uri="{FF2B5EF4-FFF2-40B4-BE49-F238E27FC236}">
                <a16:creationId xmlns:a16="http://schemas.microsoft.com/office/drawing/2014/main" id="{8D5A1DC8-3945-4F9B-9AB2-682079A87D90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l="36197" r="33383"/>
          <a:stretch/>
        </p:blipFill>
        <p:spPr>
          <a:xfrm>
            <a:off x="2003731" y="13793286"/>
            <a:ext cx="2741608" cy="2592181"/>
          </a:xfrm>
          <a:prstGeom prst="rect">
            <a:avLst/>
          </a:prstGeom>
        </p:spPr>
      </p:pic>
      <p:pic>
        <p:nvPicPr>
          <p:cNvPr id="667" name="Graphique 666">
            <a:extLst>
              <a:ext uri="{FF2B5EF4-FFF2-40B4-BE49-F238E27FC236}">
                <a16:creationId xmlns:a16="http://schemas.microsoft.com/office/drawing/2014/main" id="{FC3D850E-D2DC-4CAF-9637-616126513EBA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r="69580"/>
          <a:stretch/>
        </p:blipFill>
        <p:spPr>
          <a:xfrm>
            <a:off x="2770279" y="4147369"/>
            <a:ext cx="2893248" cy="2735557"/>
          </a:xfrm>
          <a:prstGeom prst="rect">
            <a:avLst/>
          </a:prstGeom>
        </p:spPr>
      </p:pic>
      <p:pic>
        <p:nvPicPr>
          <p:cNvPr id="668" name="Graphique 667">
            <a:extLst>
              <a:ext uri="{FF2B5EF4-FFF2-40B4-BE49-F238E27FC236}">
                <a16:creationId xmlns:a16="http://schemas.microsoft.com/office/drawing/2014/main" id="{1B2E6E82-E9CF-4103-9BBD-111F9523530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4277923" y="12531036"/>
            <a:ext cx="3016239" cy="3011738"/>
          </a:xfrm>
          <a:prstGeom prst="rect">
            <a:avLst/>
          </a:prstGeom>
        </p:spPr>
      </p:pic>
      <p:pic>
        <p:nvPicPr>
          <p:cNvPr id="669" name="Graphique 668">
            <a:extLst>
              <a:ext uri="{FF2B5EF4-FFF2-40B4-BE49-F238E27FC236}">
                <a16:creationId xmlns:a16="http://schemas.microsoft.com/office/drawing/2014/main" id="{9D1FE9FB-65BD-4745-B7EF-2A8AF3696C9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9432854" y="20899986"/>
            <a:ext cx="3524729" cy="3519468"/>
          </a:xfrm>
          <a:prstGeom prst="rect">
            <a:avLst/>
          </a:prstGeom>
        </p:spPr>
      </p:pic>
      <p:grpSp>
        <p:nvGrpSpPr>
          <p:cNvPr id="670" name="Groupe 420">
            <a:extLst>
              <a:ext uri="{FF2B5EF4-FFF2-40B4-BE49-F238E27FC236}">
                <a16:creationId xmlns:a16="http://schemas.microsoft.com/office/drawing/2014/main" id="{1080727A-DEB6-4036-B9CC-919CEC1D4632}"/>
              </a:ext>
            </a:extLst>
          </p:cNvPr>
          <p:cNvGrpSpPr>
            <a:grpSpLocks/>
          </p:cNvGrpSpPr>
          <p:nvPr/>
        </p:nvGrpSpPr>
        <p:grpSpPr bwMode="auto">
          <a:xfrm>
            <a:off x="12277932" y="2851168"/>
            <a:ext cx="2393344" cy="2352675"/>
            <a:chOff x="2335614" y="3820290"/>
            <a:chExt cx="653239" cy="560864"/>
          </a:xfrm>
        </p:grpSpPr>
        <p:sp>
          <p:nvSpPr>
            <p:cNvPr id="671" name="Ellipse 670">
              <a:extLst>
                <a:ext uri="{FF2B5EF4-FFF2-40B4-BE49-F238E27FC236}">
                  <a16:creationId xmlns:a16="http://schemas.microsoft.com/office/drawing/2014/main" id="{3F82B572-DFE2-4109-9B37-4D533E8A30F3}"/>
                </a:ext>
              </a:extLst>
            </p:cNvPr>
            <p:cNvSpPr/>
            <p:nvPr/>
          </p:nvSpPr>
          <p:spPr bwMode="auto">
            <a:xfrm>
              <a:off x="2335614" y="3917291"/>
              <a:ext cx="653239" cy="463863"/>
            </a:xfrm>
            <a:prstGeom prst="ellipse">
              <a:avLst/>
            </a:prstGeom>
            <a:solidFill>
              <a:schemeClr val="accent4"/>
            </a:solidFill>
            <a:ln w="76200">
              <a:noFill/>
              <a:round/>
              <a:headEnd/>
              <a:tailEnd/>
            </a:ln>
            <a:effectLst>
              <a:outerShdw blurRad="419100" dist="38100" dir="5400000" sx="107000" sy="107000" algn="t" rotWithShape="0">
                <a:prstClr val="black">
                  <a:alpha val="34000"/>
                </a:prstClr>
              </a:outerShdw>
            </a:effectLst>
            <a:scene3d>
              <a:camera prst="perspectiveRelaxedModerately">
                <a:rot lat="17390630" lon="0" rev="0"/>
              </a:camera>
              <a:lightRig rig="threePt" dir="t"/>
            </a:scene3d>
            <a:sp3d extrusionH="190500" prstMaterial="matte"/>
          </p:spPr>
          <p:txBody>
            <a:bodyPr lIns="0" tIns="0" rIns="0" bIns="0" anchor="ctr"/>
            <a:lstStyle/>
            <a:p>
              <a:pPr algn="ctr" defTabSz="4280855" eaLnBrk="1" fontAlgn="auto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200" b="1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672" name="_effect" descr="C:\Users\marc.h\Desktop\Schatten-TEST.png">
              <a:extLst>
                <a:ext uri="{FF2B5EF4-FFF2-40B4-BE49-F238E27FC236}">
                  <a16:creationId xmlns:a16="http://schemas.microsoft.com/office/drawing/2014/main" id="{2ECCA569-59AE-4F22-AAC0-A546B06F414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 flipH="1">
              <a:off x="2441647" y="4131755"/>
              <a:ext cx="441173" cy="66229"/>
            </a:xfrm>
            <a:prstGeom prst="rect">
              <a:avLst/>
            </a:prstGeom>
            <a:noFill/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grpSp>
          <p:nvGrpSpPr>
            <p:cNvPr id="673" name="Gruppieren 96">
              <a:extLst>
                <a:ext uri="{FF2B5EF4-FFF2-40B4-BE49-F238E27FC236}">
                  <a16:creationId xmlns:a16="http://schemas.microsoft.com/office/drawing/2014/main" id="{D9D6685E-AA09-46BC-ADC8-2AE63AAED2E9}"/>
                </a:ext>
              </a:extLst>
            </p:cNvPr>
            <p:cNvGrpSpPr/>
            <p:nvPr/>
          </p:nvGrpSpPr>
          <p:grpSpPr>
            <a:xfrm>
              <a:off x="2435114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712" name="Freeform 156">
                <a:extLst>
                  <a:ext uri="{FF2B5EF4-FFF2-40B4-BE49-F238E27FC236}">
                    <a16:creationId xmlns:a16="http://schemas.microsoft.com/office/drawing/2014/main" id="{BE61FED7-47D7-4C83-8BD2-1A367DA50A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3" name="Freeform 159">
                <a:extLst>
                  <a:ext uri="{FF2B5EF4-FFF2-40B4-BE49-F238E27FC236}">
                    <a16:creationId xmlns:a16="http://schemas.microsoft.com/office/drawing/2014/main" id="{A7DC74FC-EC49-454B-86EF-01F9A8D4E8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4" name="Freeform 160">
                <a:extLst>
                  <a:ext uri="{FF2B5EF4-FFF2-40B4-BE49-F238E27FC236}">
                    <a16:creationId xmlns:a16="http://schemas.microsoft.com/office/drawing/2014/main" id="{9FA34D35-717A-4E82-B7C1-6CFD19EDD2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5" name="Freeform 179">
                <a:extLst>
                  <a:ext uri="{FF2B5EF4-FFF2-40B4-BE49-F238E27FC236}">
                    <a16:creationId xmlns:a16="http://schemas.microsoft.com/office/drawing/2014/main" id="{EA4A4DBF-36F5-4715-85BD-8A7D723699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6" name="Freeform 180">
                <a:extLst>
                  <a:ext uri="{FF2B5EF4-FFF2-40B4-BE49-F238E27FC236}">
                    <a16:creationId xmlns:a16="http://schemas.microsoft.com/office/drawing/2014/main" id="{E5D11C96-98EF-4101-8E8D-AD417FBA66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7" name="Freeform 181">
                <a:extLst>
                  <a:ext uri="{FF2B5EF4-FFF2-40B4-BE49-F238E27FC236}">
                    <a16:creationId xmlns:a16="http://schemas.microsoft.com/office/drawing/2014/main" id="{9275CE77-602B-4852-BB0E-88B5E89966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8" name="Freeform 182">
                <a:extLst>
                  <a:ext uri="{FF2B5EF4-FFF2-40B4-BE49-F238E27FC236}">
                    <a16:creationId xmlns:a16="http://schemas.microsoft.com/office/drawing/2014/main" id="{1E04C3E0-2041-4ACD-B9BC-5EF54A20D9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9" name="Freeform 183">
                <a:extLst>
                  <a:ext uri="{FF2B5EF4-FFF2-40B4-BE49-F238E27FC236}">
                    <a16:creationId xmlns:a16="http://schemas.microsoft.com/office/drawing/2014/main" id="{8383C57B-91FE-48D6-92C3-39B7C768BC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0" name="Freeform 184">
                <a:extLst>
                  <a:ext uri="{FF2B5EF4-FFF2-40B4-BE49-F238E27FC236}">
                    <a16:creationId xmlns:a16="http://schemas.microsoft.com/office/drawing/2014/main" id="{C6568D38-E50C-45DD-B94E-D8A9FA9452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1" name="Freeform 185">
                <a:extLst>
                  <a:ext uri="{FF2B5EF4-FFF2-40B4-BE49-F238E27FC236}">
                    <a16:creationId xmlns:a16="http://schemas.microsoft.com/office/drawing/2014/main" id="{191927D0-D385-4822-B9F5-23F704FCA0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2" name="Freeform 186">
                <a:extLst>
                  <a:ext uri="{FF2B5EF4-FFF2-40B4-BE49-F238E27FC236}">
                    <a16:creationId xmlns:a16="http://schemas.microsoft.com/office/drawing/2014/main" id="{D0CF1D9D-39C2-4173-BCEB-763126FAEC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3" name="Freeform 187">
                <a:extLst>
                  <a:ext uri="{FF2B5EF4-FFF2-40B4-BE49-F238E27FC236}">
                    <a16:creationId xmlns:a16="http://schemas.microsoft.com/office/drawing/2014/main" id="{EFFF471C-816D-4C8D-8970-FD6E17639E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4" name="Freeform 157">
                <a:extLst>
                  <a:ext uri="{FF2B5EF4-FFF2-40B4-BE49-F238E27FC236}">
                    <a16:creationId xmlns:a16="http://schemas.microsoft.com/office/drawing/2014/main" id="{D2B88BDD-686C-47E3-8D98-45ED324B6B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5" name="Freeform 158">
                <a:extLst>
                  <a:ext uri="{FF2B5EF4-FFF2-40B4-BE49-F238E27FC236}">
                    <a16:creationId xmlns:a16="http://schemas.microsoft.com/office/drawing/2014/main" id="{B58C4593-CED5-4C67-A8B3-41D8EDB011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6" name="Freeform 161">
                <a:extLst>
                  <a:ext uri="{FF2B5EF4-FFF2-40B4-BE49-F238E27FC236}">
                    <a16:creationId xmlns:a16="http://schemas.microsoft.com/office/drawing/2014/main" id="{851DA603-E39F-4DDF-A099-B13131D679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7" name="Freeform 162">
                <a:extLst>
                  <a:ext uri="{FF2B5EF4-FFF2-40B4-BE49-F238E27FC236}">
                    <a16:creationId xmlns:a16="http://schemas.microsoft.com/office/drawing/2014/main" id="{A6AD167A-23FE-4317-AE89-02F7CCFCC0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8" name="Freeform 163">
                <a:extLst>
                  <a:ext uri="{FF2B5EF4-FFF2-40B4-BE49-F238E27FC236}">
                    <a16:creationId xmlns:a16="http://schemas.microsoft.com/office/drawing/2014/main" id="{EECEC72D-3515-4864-AE7E-019EA641C7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9" name="Freeform 164">
                <a:extLst>
                  <a:ext uri="{FF2B5EF4-FFF2-40B4-BE49-F238E27FC236}">
                    <a16:creationId xmlns:a16="http://schemas.microsoft.com/office/drawing/2014/main" id="{C1C8A931-422E-4254-A5CF-258960F49F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0" name="Freeform 165">
                <a:extLst>
                  <a:ext uri="{FF2B5EF4-FFF2-40B4-BE49-F238E27FC236}">
                    <a16:creationId xmlns:a16="http://schemas.microsoft.com/office/drawing/2014/main" id="{213353B2-27B0-4BA6-A92D-2B169AC106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1" name="Freeform 166">
                <a:extLst>
                  <a:ext uri="{FF2B5EF4-FFF2-40B4-BE49-F238E27FC236}">
                    <a16:creationId xmlns:a16="http://schemas.microsoft.com/office/drawing/2014/main" id="{4312692C-8F07-437A-AFEE-CC0446A7C1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2" name="Freeform 167">
                <a:extLst>
                  <a:ext uri="{FF2B5EF4-FFF2-40B4-BE49-F238E27FC236}">
                    <a16:creationId xmlns:a16="http://schemas.microsoft.com/office/drawing/2014/main" id="{A7B6C5B8-1F4B-420C-AFA0-DE9D767BE1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3" name="Freeform 168">
                <a:extLst>
                  <a:ext uri="{FF2B5EF4-FFF2-40B4-BE49-F238E27FC236}">
                    <a16:creationId xmlns:a16="http://schemas.microsoft.com/office/drawing/2014/main" id="{53984EE8-5625-4BD4-A1F6-E114BBEEED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4" name="Freeform 169">
                <a:extLst>
                  <a:ext uri="{FF2B5EF4-FFF2-40B4-BE49-F238E27FC236}">
                    <a16:creationId xmlns:a16="http://schemas.microsoft.com/office/drawing/2014/main" id="{E13136C0-756C-4738-927F-7F5D97ADFC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5" name="Freeform 170">
                <a:extLst>
                  <a:ext uri="{FF2B5EF4-FFF2-40B4-BE49-F238E27FC236}">
                    <a16:creationId xmlns:a16="http://schemas.microsoft.com/office/drawing/2014/main" id="{5906D961-F822-472C-9001-3BE4B4EEC1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6" name="Freeform 171">
                <a:extLst>
                  <a:ext uri="{FF2B5EF4-FFF2-40B4-BE49-F238E27FC236}">
                    <a16:creationId xmlns:a16="http://schemas.microsoft.com/office/drawing/2014/main" id="{8F38DE96-0839-437B-953C-0A49D89A1D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7" name="Freeform 172">
                <a:extLst>
                  <a:ext uri="{FF2B5EF4-FFF2-40B4-BE49-F238E27FC236}">
                    <a16:creationId xmlns:a16="http://schemas.microsoft.com/office/drawing/2014/main" id="{F8374944-A9B6-4261-B986-E57A1E5C80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8" name="Freeform 173">
                <a:extLst>
                  <a:ext uri="{FF2B5EF4-FFF2-40B4-BE49-F238E27FC236}">
                    <a16:creationId xmlns:a16="http://schemas.microsoft.com/office/drawing/2014/main" id="{4355BD98-CCE6-4C2E-8A5C-DE5B7B9C1E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9" name="Freeform 174">
                <a:extLst>
                  <a:ext uri="{FF2B5EF4-FFF2-40B4-BE49-F238E27FC236}">
                    <a16:creationId xmlns:a16="http://schemas.microsoft.com/office/drawing/2014/main" id="{4208594B-C966-404B-8148-2A368FC387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40" name="Freeform 175">
                <a:extLst>
                  <a:ext uri="{FF2B5EF4-FFF2-40B4-BE49-F238E27FC236}">
                    <a16:creationId xmlns:a16="http://schemas.microsoft.com/office/drawing/2014/main" id="{82D44DEA-E519-4DCA-BEB2-7663F845C2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42" name="Freeform 176">
                <a:extLst>
                  <a:ext uri="{FF2B5EF4-FFF2-40B4-BE49-F238E27FC236}">
                    <a16:creationId xmlns:a16="http://schemas.microsoft.com/office/drawing/2014/main" id="{72D3B046-F297-4D6E-9BC3-F35E2E9EC7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43" name="Freeform 177">
                <a:extLst>
                  <a:ext uri="{FF2B5EF4-FFF2-40B4-BE49-F238E27FC236}">
                    <a16:creationId xmlns:a16="http://schemas.microsoft.com/office/drawing/2014/main" id="{0996C0D1-0FFC-4F02-905F-E5625E0696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44" name="Freeform 178">
                <a:extLst>
                  <a:ext uri="{FF2B5EF4-FFF2-40B4-BE49-F238E27FC236}">
                    <a16:creationId xmlns:a16="http://schemas.microsoft.com/office/drawing/2014/main" id="{AB8BD28B-FAEE-401E-8A8C-6993AA1A72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45" name="Freeform 188">
                <a:extLst>
                  <a:ext uri="{FF2B5EF4-FFF2-40B4-BE49-F238E27FC236}">
                    <a16:creationId xmlns:a16="http://schemas.microsoft.com/office/drawing/2014/main" id="{3C6B8D55-3499-49FA-8CF9-93CB0D7E90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46" name="Freeform 103">
                <a:extLst>
                  <a:ext uri="{FF2B5EF4-FFF2-40B4-BE49-F238E27FC236}">
                    <a16:creationId xmlns:a16="http://schemas.microsoft.com/office/drawing/2014/main" id="{BE0092A0-A5F1-4493-9B5C-A3E8C2BCCA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47" name="Freeform 104">
                <a:extLst>
                  <a:ext uri="{FF2B5EF4-FFF2-40B4-BE49-F238E27FC236}">
                    <a16:creationId xmlns:a16="http://schemas.microsoft.com/office/drawing/2014/main" id="{DC33982D-C65C-4595-8358-B72B5D456EAF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674" name="AutoShape 25">
              <a:extLst>
                <a:ext uri="{FF2B5EF4-FFF2-40B4-BE49-F238E27FC236}">
                  <a16:creationId xmlns:a16="http://schemas.microsoft.com/office/drawing/2014/main" id="{8655B73D-CACD-4085-A6D8-38CF00EC1FEC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86187" flipH="1">
              <a:off x="2537834" y="3836563"/>
              <a:ext cx="158292" cy="327738"/>
            </a:xfrm>
            <a:custGeom>
              <a:avLst/>
              <a:gdLst>
                <a:gd name="T0" fmla="*/ 794460491 w 792"/>
                <a:gd name="T1" fmla="*/ 729941208 h 2536"/>
                <a:gd name="T2" fmla="*/ 794460491 w 792"/>
                <a:gd name="T3" fmla="*/ 729941208 h 2536"/>
                <a:gd name="T4" fmla="*/ 794460491 w 792"/>
                <a:gd name="T5" fmla="*/ 729941208 h 2536"/>
                <a:gd name="T6" fmla="*/ 794460491 w 792"/>
                <a:gd name="T7" fmla="*/ 729941208 h 2536"/>
                <a:gd name="T8" fmla="*/ 794460491 w 792"/>
                <a:gd name="T9" fmla="*/ 729941208 h 2536"/>
                <a:gd name="T10" fmla="*/ 794460491 w 792"/>
                <a:gd name="T11" fmla="*/ 729941208 h 2536"/>
                <a:gd name="T12" fmla="*/ 794460491 w 792"/>
                <a:gd name="T13" fmla="*/ 729941208 h 2536"/>
                <a:gd name="T14" fmla="*/ 794460491 w 792"/>
                <a:gd name="T15" fmla="*/ 729941208 h 2536"/>
                <a:gd name="T16" fmla="*/ 794460491 w 792"/>
                <a:gd name="T17" fmla="*/ 729941208 h 2536"/>
                <a:gd name="T18" fmla="*/ 794460491 w 792"/>
                <a:gd name="T19" fmla="*/ 729941208 h 2536"/>
                <a:gd name="T20" fmla="*/ 794460491 w 792"/>
                <a:gd name="T21" fmla="*/ 729941208 h 2536"/>
                <a:gd name="T22" fmla="*/ 794460491 w 792"/>
                <a:gd name="T23" fmla="*/ 729941208 h 2536"/>
                <a:gd name="T24" fmla="*/ 794460491 w 792"/>
                <a:gd name="T25" fmla="*/ 729941208 h 2536"/>
                <a:gd name="T26" fmla="*/ 794460491 w 792"/>
                <a:gd name="T27" fmla="*/ 729941208 h 2536"/>
                <a:gd name="T28" fmla="*/ 0 w 792"/>
                <a:gd name="T29" fmla="*/ 729941208 h 2536"/>
                <a:gd name="T30" fmla="*/ 794460491 w 792"/>
                <a:gd name="T31" fmla="*/ 729941208 h 2536"/>
                <a:gd name="T32" fmla="*/ 794460491 w 792"/>
                <a:gd name="T33" fmla="*/ 729941208 h 2536"/>
                <a:gd name="T34" fmla="*/ 794460491 w 792"/>
                <a:gd name="T35" fmla="*/ 729941208 h 2536"/>
                <a:gd name="T36" fmla="*/ 794460491 w 792"/>
                <a:gd name="T37" fmla="*/ 729941208 h 2536"/>
                <a:gd name="T38" fmla="*/ 794460491 w 792"/>
                <a:gd name="T39" fmla="*/ 729941208 h 2536"/>
                <a:gd name="T40" fmla="*/ 794460491 w 792"/>
                <a:gd name="T41" fmla="*/ 729941208 h 2536"/>
                <a:gd name="T42" fmla="*/ 794460491 w 792"/>
                <a:gd name="T43" fmla="*/ 729941208 h 2536"/>
                <a:gd name="T44" fmla="*/ 794460491 w 792"/>
                <a:gd name="T45" fmla="*/ 729941208 h 2536"/>
                <a:gd name="T46" fmla="*/ 794460491 w 792"/>
                <a:gd name="T47" fmla="*/ 729941208 h 2536"/>
                <a:gd name="T48" fmla="*/ 794460491 w 792"/>
                <a:gd name="T49" fmla="*/ 729941208 h 2536"/>
                <a:gd name="T50" fmla="*/ 794460491 w 792"/>
                <a:gd name="T51" fmla="*/ 729941208 h 2536"/>
                <a:gd name="T52" fmla="*/ 794460491 w 792"/>
                <a:gd name="T53" fmla="*/ 729941208 h 2536"/>
                <a:gd name="T54" fmla="*/ 794460491 w 792"/>
                <a:gd name="T55" fmla="*/ 729941208 h 2536"/>
                <a:gd name="T56" fmla="*/ 794460491 w 792"/>
                <a:gd name="T57" fmla="*/ 729941208 h 2536"/>
                <a:gd name="T58" fmla="*/ 794460491 w 792"/>
                <a:gd name="T59" fmla="*/ 729941208 h 2536"/>
                <a:gd name="T60" fmla="*/ 794460491 w 792"/>
                <a:gd name="T61" fmla="*/ 729941208 h 2536"/>
                <a:gd name="T62" fmla="*/ 794460491 w 792"/>
                <a:gd name="T63" fmla="*/ 729941208 h 2536"/>
                <a:gd name="T64" fmla="*/ 794460491 w 792"/>
                <a:gd name="T65" fmla="*/ 729941208 h 2536"/>
                <a:gd name="T66" fmla="*/ 794460491 w 792"/>
                <a:gd name="T67" fmla="*/ 729941208 h 2536"/>
                <a:gd name="T68" fmla="*/ 794460491 w 792"/>
                <a:gd name="T69" fmla="*/ 729941208 h 2536"/>
                <a:gd name="T70" fmla="*/ 794460491 w 792"/>
                <a:gd name="T71" fmla="*/ 729941208 h 2536"/>
                <a:gd name="T72" fmla="*/ 794460491 w 792"/>
                <a:gd name="T73" fmla="*/ 729941208 h 2536"/>
                <a:gd name="T74" fmla="*/ 794460491 w 792"/>
                <a:gd name="T75" fmla="*/ 729941208 h 2536"/>
                <a:gd name="T76" fmla="*/ 794460491 w 792"/>
                <a:gd name="T77" fmla="*/ 729941208 h 2536"/>
                <a:gd name="T78" fmla="*/ 794460491 w 792"/>
                <a:gd name="T79" fmla="*/ 729941208 h 2536"/>
                <a:gd name="T80" fmla="*/ 794460491 w 792"/>
                <a:gd name="T81" fmla="*/ 729941208 h 2536"/>
                <a:gd name="T82" fmla="*/ 794460491 w 792"/>
                <a:gd name="T83" fmla="*/ 729941208 h 2536"/>
                <a:gd name="T84" fmla="*/ 794460491 w 792"/>
                <a:gd name="T85" fmla="*/ 729941208 h 2536"/>
                <a:gd name="T86" fmla="*/ 794460491 w 792"/>
                <a:gd name="T87" fmla="*/ 729941208 h 2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92"/>
                <a:gd name="T133" fmla="*/ 0 h 2536"/>
                <a:gd name="T134" fmla="*/ 792 w 792"/>
                <a:gd name="T135" fmla="*/ 2536 h 2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92" h="2536">
                  <a:moveTo>
                    <a:pt x="752" y="900"/>
                  </a:moveTo>
                  <a:cubicBezTo>
                    <a:pt x="752" y="888"/>
                    <a:pt x="744" y="880"/>
                    <a:pt x="740" y="872"/>
                  </a:cubicBezTo>
                  <a:cubicBezTo>
                    <a:pt x="720" y="760"/>
                    <a:pt x="736" y="656"/>
                    <a:pt x="724" y="548"/>
                  </a:cubicBezTo>
                  <a:cubicBezTo>
                    <a:pt x="724" y="524"/>
                    <a:pt x="724" y="500"/>
                    <a:pt x="716" y="480"/>
                  </a:cubicBezTo>
                  <a:cubicBezTo>
                    <a:pt x="712" y="472"/>
                    <a:pt x="704" y="464"/>
                    <a:pt x="696" y="456"/>
                  </a:cubicBezTo>
                  <a:cubicBezTo>
                    <a:pt x="688" y="452"/>
                    <a:pt x="668" y="452"/>
                    <a:pt x="672" y="444"/>
                  </a:cubicBezTo>
                  <a:cubicBezTo>
                    <a:pt x="688" y="332"/>
                    <a:pt x="664" y="224"/>
                    <a:pt x="656" y="116"/>
                  </a:cubicBezTo>
                  <a:cubicBezTo>
                    <a:pt x="652" y="56"/>
                    <a:pt x="600" y="0"/>
                    <a:pt x="532" y="8"/>
                  </a:cubicBezTo>
                  <a:cubicBezTo>
                    <a:pt x="512" y="12"/>
                    <a:pt x="492" y="16"/>
                    <a:pt x="472" y="32"/>
                  </a:cubicBezTo>
                  <a:cubicBezTo>
                    <a:pt x="440" y="60"/>
                    <a:pt x="416" y="88"/>
                    <a:pt x="400" y="124"/>
                  </a:cubicBezTo>
                  <a:cubicBezTo>
                    <a:pt x="392" y="148"/>
                    <a:pt x="380" y="164"/>
                    <a:pt x="372" y="188"/>
                  </a:cubicBezTo>
                  <a:cubicBezTo>
                    <a:pt x="364" y="212"/>
                    <a:pt x="364" y="232"/>
                    <a:pt x="360" y="256"/>
                  </a:cubicBezTo>
                  <a:cubicBezTo>
                    <a:pt x="356" y="272"/>
                    <a:pt x="364" y="284"/>
                    <a:pt x="364" y="296"/>
                  </a:cubicBezTo>
                  <a:cubicBezTo>
                    <a:pt x="364" y="352"/>
                    <a:pt x="308" y="388"/>
                    <a:pt x="264" y="416"/>
                  </a:cubicBezTo>
                  <a:cubicBezTo>
                    <a:pt x="240" y="432"/>
                    <a:pt x="204" y="428"/>
                    <a:pt x="184" y="452"/>
                  </a:cubicBezTo>
                  <a:cubicBezTo>
                    <a:pt x="144" y="496"/>
                    <a:pt x="160" y="556"/>
                    <a:pt x="144" y="608"/>
                  </a:cubicBezTo>
                  <a:cubicBezTo>
                    <a:pt x="144" y="612"/>
                    <a:pt x="156" y="616"/>
                    <a:pt x="152" y="628"/>
                  </a:cubicBezTo>
                  <a:cubicBezTo>
                    <a:pt x="148" y="696"/>
                    <a:pt x="156" y="764"/>
                    <a:pt x="140" y="832"/>
                  </a:cubicBezTo>
                  <a:cubicBezTo>
                    <a:pt x="128" y="876"/>
                    <a:pt x="120" y="916"/>
                    <a:pt x="116" y="960"/>
                  </a:cubicBezTo>
                  <a:cubicBezTo>
                    <a:pt x="112" y="1024"/>
                    <a:pt x="116" y="1088"/>
                    <a:pt x="116" y="1152"/>
                  </a:cubicBezTo>
                  <a:cubicBezTo>
                    <a:pt x="116" y="1212"/>
                    <a:pt x="108" y="1272"/>
                    <a:pt x="96" y="1336"/>
                  </a:cubicBezTo>
                  <a:cubicBezTo>
                    <a:pt x="92" y="1360"/>
                    <a:pt x="104" y="1384"/>
                    <a:pt x="120" y="1404"/>
                  </a:cubicBezTo>
                  <a:cubicBezTo>
                    <a:pt x="136" y="1424"/>
                    <a:pt x="164" y="1432"/>
                    <a:pt x="188" y="1436"/>
                  </a:cubicBezTo>
                  <a:cubicBezTo>
                    <a:pt x="192" y="1436"/>
                    <a:pt x="196" y="1440"/>
                    <a:pt x="196" y="1444"/>
                  </a:cubicBezTo>
                  <a:cubicBezTo>
                    <a:pt x="192" y="1540"/>
                    <a:pt x="192" y="1636"/>
                    <a:pt x="180" y="1736"/>
                  </a:cubicBezTo>
                  <a:cubicBezTo>
                    <a:pt x="180" y="1744"/>
                    <a:pt x="188" y="1748"/>
                    <a:pt x="188" y="1752"/>
                  </a:cubicBezTo>
                  <a:cubicBezTo>
                    <a:pt x="188" y="1820"/>
                    <a:pt x="152" y="1884"/>
                    <a:pt x="148" y="1956"/>
                  </a:cubicBezTo>
                  <a:cubicBezTo>
                    <a:pt x="144" y="2056"/>
                    <a:pt x="156" y="2152"/>
                    <a:pt x="148" y="2252"/>
                  </a:cubicBezTo>
                  <a:cubicBezTo>
                    <a:pt x="148" y="2316"/>
                    <a:pt x="120" y="2376"/>
                    <a:pt x="88" y="2432"/>
                  </a:cubicBezTo>
                  <a:cubicBezTo>
                    <a:pt x="64" y="2468"/>
                    <a:pt x="24" y="2484"/>
                    <a:pt x="0" y="2516"/>
                  </a:cubicBezTo>
                  <a:cubicBezTo>
                    <a:pt x="52" y="2512"/>
                    <a:pt x="104" y="2516"/>
                    <a:pt x="152" y="2492"/>
                  </a:cubicBezTo>
                  <a:cubicBezTo>
                    <a:pt x="148" y="2460"/>
                    <a:pt x="180" y="2424"/>
                    <a:pt x="208" y="2424"/>
                  </a:cubicBezTo>
                  <a:cubicBezTo>
                    <a:pt x="224" y="2428"/>
                    <a:pt x="204" y="2460"/>
                    <a:pt x="220" y="2476"/>
                  </a:cubicBezTo>
                  <a:cubicBezTo>
                    <a:pt x="220" y="2448"/>
                    <a:pt x="224" y="2420"/>
                    <a:pt x="244" y="2396"/>
                  </a:cubicBezTo>
                  <a:cubicBezTo>
                    <a:pt x="268" y="2372"/>
                    <a:pt x="248" y="2336"/>
                    <a:pt x="224" y="2312"/>
                  </a:cubicBezTo>
                  <a:cubicBezTo>
                    <a:pt x="224" y="2308"/>
                    <a:pt x="221" y="2300"/>
                    <a:pt x="220" y="2292"/>
                  </a:cubicBezTo>
                  <a:cubicBezTo>
                    <a:pt x="216" y="2244"/>
                    <a:pt x="224" y="2196"/>
                    <a:pt x="236" y="2144"/>
                  </a:cubicBezTo>
                  <a:cubicBezTo>
                    <a:pt x="244" y="2084"/>
                    <a:pt x="264" y="2032"/>
                    <a:pt x="280" y="1972"/>
                  </a:cubicBezTo>
                  <a:cubicBezTo>
                    <a:pt x="296" y="1916"/>
                    <a:pt x="284" y="1856"/>
                    <a:pt x="304" y="1800"/>
                  </a:cubicBezTo>
                  <a:cubicBezTo>
                    <a:pt x="308" y="1784"/>
                    <a:pt x="312" y="1760"/>
                    <a:pt x="328" y="1752"/>
                  </a:cubicBezTo>
                  <a:cubicBezTo>
                    <a:pt x="352" y="1740"/>
                    <a:pt x="380" y="1740"/>
                    <a:pt x="404" y="1744"/>
                  </a:cubicBezTo>
                  <a:cubicBezTo>
                    <a:pt x="432" y="1744"/>
                    <a:pt x="460" y="1748"/>
                    <a:pt x="488" y="1752"/>
                  </a:cubicBezTo>
                  <a:cubicBezTo>
                    <a:pt x="500" y="1756"/>
                    <a:pt x="504" y="1768"/>
                    <a:pt x="508" y="1780"/>
                  </a:cubicBezTo>
                  <a:cubicBezTo>
                    <a:pt x="512" y="1840"/>
                    <a:pt x="496" y="1896"/>
                    <a:pt x="488" y="1956"/>
                  </a:cubicBezTo>
                  <a:cubicBezTo>
                    <a:pt x="484" y="2024"/>
                    <a:pt x="496" y="2092"/>
                    <a:pt x="480" y="2164"/>
                  </a:cubicBezTo>
                  <a:cubicBezTo>
                    <a:pt x="476" y="2192"/>
                    <a:pt x="476" y="2220"/>
                    <a:pt x="468" y="2248"/>
                  </a:cubicBezTo>
                  <a:cubicBezTo>
                    <a:pt x="460" y="2272"/>
                    <a:pt x="448" y="2292"/>
                    <a:pt x="444" y="2320"/>
                  </a:cubicBezTo>
                  <a:cubicBezTo>
                    <a:pt x="440" y="2328"/>
                    <a:pt x="428" y="2328"/>
                    <a:pt x="428" y="2340"/>
                  </a:cubicBezTo>
                  <a:cubicBezTo>
                    <a:pt x="424" y="2352"/>
                    <a:pt x="420" y="2364"/>
                    <a:pt x="420" y="2376"/>
                  </a:cubicBezTo>
                  <a:cubicBezTo>
                    <a:pt x="424" y="2392"/>
                    <a:pt x="440" y="2404"/>
                    <a:pt x="444" y="2416"/>
                  </a:cubicBezTo>
                  <a:cubicBezTo>
                    <a:pt x="452" y="2432"/>
                    <a:pt x="452" y="2452"/>
                    <a:pt x="448" y="2468"/>
                  </a:cubicBezTo>
                  <a:cubicBezTo>
                    <a:pt x="444" y="2476"/>
                    <a:pt x="436" y="2488"/>
                    <a:pt x="444" y="2496"/>
                  </a:cubicBezTo>
                  <a:cubicBezTo>
                    <a:pt x="480" y="2524"/>
                    <a:pt x="564" y="2536"/>
                    <a:pt x="552" y="2472"/>
                  </a:cubicBezTo>
                  <a:cubicBezTo>
                    <a:pt x="540" y="2432"/>
                    <a:pt x="512" y="2392"/>
                    <a:pt x="516" y="2348"/>
                  </a:cubicBezTo>
                  <a:cubicBezTo>
                    <a:pt x="516" y="2312"/>
                    <a:pt x="520" y="2276"/>
                    <a:pt x="532" y="2240"/>
                  </a:cubicBezTo>
                  <a:cubicBezTo>
                    <a:pt x="596" y="2088"/>
                    <a:pt x="640" y="1932"/>
                    <a:pt x="624" y="1768"/>
                  </a:cubicBezTo>
                  <a:cubicBezTo>
                    <a:pt x="652" y="1744"/>
                    <a:pt x="696" y="1748"/>
                    <a:pt x="732" y="1748"/>
                  </a:cubicBezTo>
                  <a:cubicBezTo>
                    <a:pt x="736" y="1640"/>
                    <a:pt x="708" y="1536"/>
                    <a:pt x="724" y="1428"/>
                  </a:cubicBezTo>
                  <a:cubicBezTo>
                    <a:pt x="728" y="1408"/>
                    <a:pt x="756" y="1416"/>
                    <a:pt x="768" y="1404"/>
                  </a:cubicBezTo>
                  <a:cubicBezTo>
                    <a:pt x="784" y="1392"/>
                    <a:pt x="792" y="1368"/>
                    <a:pt x="792" y="1356"/>
                  </a:cubicBezTo>
                  <a:cubicBezTo>
                    <a:pt x="740" y="1204"/>
                    <a:pt x="784" y="1060"/>
                    <a:pt x="752" y="900"/>
                  </a:cubicBezTo>
                  <a:close/>
                  <a:moveTo>
                    <a:pt x="208" y="1272"/>
                  </a:moveTo>
                  <a:cubicBezTo>
                    <a:pt x="200" y="1316"/>
                    <a:pt x="200" y="1364"/>
                    <a:pt x="200" y="1408"/>
                  </a:cubicBezTo>
                  <a:cubicBezTo>
                    <a:pt x="200" y="1416"/>
                    <a:pt x="204" y="1432"/>
                    <a:pt x="192" y="1428"/>
                  </a:cubicBezTo>
                  <a:cubicBezTo>
                    <a:pt x="176" y="1428"/>
                    <a:pt x="172" y="1420"/>
                    <a:pt x="160" y="1408"/>
                  </a:cubicBezTo>
                  <a:cubicBezTo>
                    <a:pt x="160" y="1404"/>
                    <a:pt x="160" y="1400"/>
                    <a:pt x="160" y="1396"/>
                  </a:cubicBezTo>
                  <a:cubicBezTo>
                    <a:pt x="148" y="1400"/>
                    <a:pt x="140" y="1388"/>
                    <a:pt x="136" y="1376"/>
                  </a:cubicBezTo>
                  <a:cubicBezTo>
                    <a:pt x="128" y="1356"/>
                    <a:pt x="132" y="1324"/>
                    <a:pt x="148" y="1324"/>
                  </a:cubicBezTo>
                  <a:cubicBezTo>
                    <a:pt x="172" y="1320"/>
                    <a:pt x="164" y="1364"/>
                    <a:pt x="172" y="1384"/>
                  </a:cubicBezTo>
                  <a:cubicBezTo>
                    <a:pt x="176" y="1388"/>
                    <a:pt x="180" y="1388"/>
                    <a:pt x="184" y="1388"/>
                  </a:cubicBezTo>
                  <a:cubicBezTo>
                    <a:pt x="180" y="1352"/>
                    <a:pt x="184" y="1312"/>
                    <a:pt x="176" y="1276"/>
                  </a:cubicBezTo>
                  <a:cubicBezTo>
                    <a:pt x="172" y="1252"/>
                    <a:pt x="152" y="1236"/>
                    <a:pt x="156" y="1208"/>
                  </a:cubicBezTo>
                  <a:cubicBezTo>
                    <a:pt x="180" y="1060"/>
                    <a:pt x="224" y="928"/>
                    <a:pt x="232" y="780"/>
                  </a:cubicBezTo>
                  <a:cubicBezTo>
                    <a:pt x="232" y="756"/>
                    <a:pt x="224" y="724"/>
                    <a:pt x="248" y="712"/>
                  </a:cubicBezTo>
                  <a:cubicBezTo>
                    <a:pt x="264" y="704"/>
                    <a:pt x="257" y="732"/>
                    <a:pt x="260" y="744"/>
                  </a:cubicBezTo>
                  <a:cubicBezTo>
                    <a:pt x="304" y="928"/>
                    <a:pt x="224" y="1092"/>
                    <a:pt x="208" y="1272"/>
                  </a:cubicBezTo>
                  <a:close/>
                  <a:moveTo>
                    <a:pt x="656" y="876"/>
                  </a:moveTo>
                  <a:cubicBezTo>
                    <a:pt x="656" y="888"/>
                    <a:pt x="641" y="882"/>
                    <a:pt x="632" y="876"/>
                  </a:cubicBezTo>
                  <a:cubicBezTo>
                    <a:pt x="620" y="868"/>
                    <a:pt x="620" y="852"/>
                    <a:pt x="624" y="844"/>
                  </a:cubicBezTo>
                  <a:cubicBezTo>
                    <a:pt x="632" y="824"/>
                    <a:pt x="624" y="800"/>
                    <a:pt x="616" y="780"/>
                  </a:cubicBezTo>
                  <a:cubicBezTo>
                    <a:pt x="608" y="764"/>
                    <a:pt x="608" y="744"/>
                    <a:pt x="624" y="728"/>
                  </a:cubicBezTo>
                  <a:cubicBezTo>
                    <a:pt x="628" y="728"/>
                    <a:pt x="632" y="728"/>
                    <a:pt x="636" y="728"/>
                  </a:cubicBezTo>
                  <a:cubicBezTo>
                    <a:pt x="664" y="776"/>
                    <a:pt x="660" y="828"/>
                    <a:pt x="656" y="876"/>
                  </a:cubicBezTo>
                  <a:close/>
                  <a:moveTo>
                    <a:pt x="728" y="1400"/>
                  </a:moveTo>
                  <a:cubicBezTo>
                    <a:pt x="724" y="1400"/>
                    <a:pt x="716" y="1392"/>
                    <a:pt x="720" y="1384"/>
                  </a:cubicBezTo>
                  <a:cubicBezTo>
                    <a:pt x="728" y="1364"/>
                    <a:pt x="716" y="1332"/>
                    <a:pt x="748" y="1332"/>
                  </a:cubicBezTo>
                  <a:cubicBezTo>
                    <a:pt x="752" y="1332"/>
                    <a:pt x="752" y="1341"/>
                    <a:pt x="756" y="1348"/>
                  </a:cubicBezTo>
                  <a:cubicBezTo>
                    <a:pt x="768" y="1372"/>
                    <a:pt x="756" y="1400"/>
                    <a:pt x="728" y="1400"/>
                  </a:cubicBezTo>
                  <a:close/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lIns="428085" tIns="214043" rIns="428085" bIns="214043"/>
            <a:lstStyle/>
            <a:p>
              <a:pPr defTabSz="428085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5" name="AutoShape 22">
              <a:extLst>
                <a:ext uri="{FF2B5EF4-FFF2-40B4-BE49-F238E27FC236}">
                  <a16:creationId xmlns:a16="http://schemas.microsoft.com/office/drawing/2014/main" id="{BA9C03E8-23CE-4B70-94A4-BD649B20FAC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42731" y="3820290"/>
              <a:ext cx="139736" cy="340227"/>
            </a:xfrm>
            <a:custGeom>
              <a:avLst/>
              <a:gdLst>
                <a:gd name="T0" fmla="*/ 808464432 w 680"/>
                <a:gd name="T1" fmla="*/ 813928491 h 2335"/>
                <a:gd name="T2" fmla="*/ 808464432 w 680"/>
                <a:gd name="T3" fmla="*/ 813928491 h 2335"/>
                <a:gd name="T4" fmla="*/ 808464432 w 680"/>
                <a:gd name="T5" fmla="*/ 813928491 h 2335"/>
                <a:gd name="T6" fmla="*/ 808464432 w 680"/>
                <a:gd name="T7" fmla="*/ 813928491 h 2335"/>
                <a:gd name="T8" fmla="*/ 808464432 w 680"/>
                <a:gd name="T9" fmla="*/ 813928491 h 2335"/>
                <a:gd name="T10" fmla="*/ 808464432 w 680"/>
                <a:gd name="T11" fmla="*/ 813928491 h 2335"/>
                <a:gd name="T12" fmla="*/ 808464432 w 680"/>
                <a:gd name="T13" fmla="*/ 813928491 h 2335"/>
                <a:gd name="T14" fmla="*/ 808464432 w 680"/>
                <a:gd name="T15" fmla="*/ 813928491 h 2335"/>
                <a:gd name="T16" fmla="*/ 808464432 w 680"/>
                <a:gd name="T17" fmla="*/ 813928491 h 2335"/>
                <a:gd name="T18" fmla="*/ 808464432 w 680"/>
                <a:gd name="T19" fmla="*/ 813928491 h 2335"/>
                <a:gd name="T20" fmla="*/ 808464432 w 680"/>
                <a:gd name="T21" fmla="*/ 813928491 h 2335"/>
                <a:gd name="T22" fmla="*/ 808464432 w 680"/>
                <a:gd name="T23" fmla="*/ 813928491 h 2335"/>
                <a:gd name="T24" fmla="*/ 808464432 w 680"/>
                <a:gd name="T25" fmla="*/ 813928491 h 2335"/>
                <a:gd name="T26" fmla="*/ 808464432 w 680"/>
                <a:gd name="T27" fmla="*/ 813928491 h 2335"/>
                <a:gd name="T28" fmla="*/ 808464432 w 680"/>
                <a:gd name="T29" fmla="*/ 813928491 h 2335"/>
                <a:gd name="T30" fmla="*/ 808464432 w 680"/>
                <a:gd name="T31" fmla="*/ 813928491 h 2335"/>
                <a:gd name="T32" fmla="*/ 808464432 w 680"/>
                <a:gd name="T33" fmla="*/ 813928491 h 2335"/>
                <a:gd name="T34" fmla="*/ 808464432 w 680"/>
                <a:gd name="T35" fmla="*/ 813928491 h 2335"/>
                <a:gd name="T36" fmla="*/ 808464432 w 680"/>
                <a:gd name="T37" fmla="*/ 813928491 h 2335"/>
                <a:gd name="T38" fmla="*/ 808464432 w 680"/>
                <a:gd name="T39" fmla="*/ 813928491 h 2335"/>
                <a:gd name="T40" fmla="*/ 808464432 w 680"/>
                <a:gd name="T41" fmla="*/ 813928491 h 2335"/>
                <a:gd name="T42" fmla="*/ 808464432 w 680"/>
                <a:gd name="T43" fmla="*/ 813928491 h 2335"/>
                <a:gd name="T44" fmla="*/ 808464432 w 680"/>
                <a:gd name="T45" fmla="*/ 813928491 h 2335"/>
                <a:gd name="T46" fmla="*/ 808464432 w 680"/>
                <a:gd name="T47" fmla="*/ 813928491 h 2335"/>
                <a:gd name="T48" fmla="*/ 808464432 w 680"/>
                <a:gd name="T49" fmla="*/ 813928491 h 2335"/>
                <a:gd name="T50" fmla="*/ 808464432 w 680"/>
                <a:gd name="T51" fmla="*/ 813928491 h 2335"/>
                <a:gd name="T52" fmla="*/ 808464432 w 680"/>
                <a:gd name="T53" fmla="*/ 813928491 h 2335"/>
                <a:gd name="T54" fmla="*/ 808464432 w 680"/>
                <a:gd name="T55" fmla="*/ 813928491 h 2335"/>
                <a:gd name="T56" fmla="*/ 808464432 w 680"/>
                <a:gd name="T57" fmla="*/ 813928491 h 2335"/>
                <a:gd name="T58" fmla="*/ 808464432 w 680"/>
                <a:gd name="T59" fmla="*/ 813928491 h 2335"/>
                <a:gd name="T60" fmla="*/ 808464432 w 680"/>
                <a:gd name="T61" fmla="*/ 813928491 h 2335"/>
                <a:gd name="T62" fmla="*/ 808464432 w 680"/>
                <a:gd name="T63" fmla="*/ 813928491 h 2335"/>
                <a:gd name="T64" fmla="*/ 808464432 w 680"/>
                <a:gd name="T65" fmla="*/ 813928491 h 2335"/>
                <a:gd name="T66" fmla="*/ 808464432 w 680"/>
                <a:gd name="T67" fmla="*/ 813928491 h 2335"/>
                <a:gd name="T68" fmla="*/ 808464432 w 680"/>
                <a:gd name="T69" fmla="*/ 813928491 h 2335"/>
                <a:gd name="T70" fmla="*/ 808464432 w 680"/>
                <a:gd name="T71" fmla="*/ 813928491 h 2335"/>
                <a:gd name="T72" fmla="*/ 808464432 w 680"/>
                <a:gd name="T73" fmla="*/ 813928491 h 2335"/>
                <a:gd name="T74" fmla="*/ 808464432 w 680"/>
                <a:gd name="T75" fmla="*/ 813928491 h 2335"/>
                <a:gd name="T76" fmla="*/ 808464432 w 680"/>
                <a:gd name="T77" fmla="*/ 813928491 h 2335"/>
                <a:gd name="T78" fmla="*/ 808464432 w 680"/>
                <a:gd name="T79" fmla="*/ 813928491 h 2335"/>
                <a:gd name="T80" fmla="*/ 808464432 w 680"/>
                <a:gd name="T81" fmla="*/ 813928491 h 2335"/>
                <a:gd name="T82" fmla="*/ 808464432 w 680"/>
                <a:gd name="T83" fmla="*/ 813928491 h 2335"/>
                <a:gd name="T84" fmla="*/ 808464432 w 680"/>
                <a:gd name="T85" fmla="*/ 813928491 h 2335"/>
                <a:gd name="T86" fmla="*/ 808464432 w 680"/>
                <a:gd name="T87" fmla="*/ 813928491 h 2335"/>
                <a:gd name="T88" fmla="*/ 808464432 w 680"/>
                <a:gd name="T89" fmla="*/ 813928491 h 2335"/>
                <a:gd name="T90" fmla="*/ 808464432 w 680"/>
                <a:gd name="T91" fmla="*/ 813928491 h 2335"/>
                <a:gd name="T92" fmla="*/ 808464432 w 680"/>
                <a:gd name="T93" fmla="*/ 813928491 h 2335"/>
                <a:gd name="T94" fmla="*/ 808464432 w 680"/>
                <a:gd name="T95" fmla="*/ 813928491 h 2335"/>
                <a:gd name="T96" fmla="*/ 808464432 w 680"/>
                <a:gd name="T97" fmla="*/ 813928491 h 2335"/>
                <a:gd name="T98" fmla="*/ 808464432 w 680"/>
                <a:gd name="T99" fmla="*/ 813928491 h 2335"/>
                <a:gd name="T100" fmla="*/ 808464432 w 680"/>
                <a:gd name="T101" fmla="*/ 813928491 h 2335"/>
                <a:gd name="T102" fmla="*/ 808464432 w 680"/>
                <a:gd name="T103" fmla="*/ 813928491 h 2335"/>
                <a:gd name="T104" fmla="*/ 808464432 w 680"/>
                <a:gd name="T105" fmla="*/ 813928491 h 2335"/>
                <a:gd name="T106" fmla="*/ 808464432 w 680"/>
                <a:gd name="T107" fmla="*/ 813928491 h 2335"/>
                <a:gd name="T108" fmla="*/ 808464432 w 680"/>
                <a:gd name="T109" fmla="*/ 813928491 h 2335"/>
                <a:gd name="T110" fmla="*/ 808464432 w 680"/>
                <a:gd name="T111" fmla="*/ 813928491 h 2335"/>
                <a:gd name="T112" fmla="*/ 808464432 w 680"/>
                <a:gd name="T113" fmla="*/ 813928491 h 2335"/>
                <a:gd name="T114" fmla="*/ 808464432 w 680"/>
                <a:gd name="T115" fmla="*/ 813928491 h 233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0"/>
                <a:gd name="T175" fmla="*/ 0 h 2335"/>
                <a:gd name="T176" fmla="*/ 680 w 680"/>
                <a:gd name="T177" fmla="*/ 2335 h 233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0" h="2335">
                  <a:moveTo>
                    <a:pt x="676" y="998"/>
                  </a:moveTo>
                  <a:cubicBezTo>
                    <a:pt x="670" y="976"/>
                    <a:pt x="677" y="952"/>
                    <a:pt x="674" y="929"/>
                  </a:cubicBezTo>
                  <a:cubicBezTo>
                    <a:pt x="673" y="919"/>
                    <a:pt x="670" y="909"/>
                    <a:pt x="668" y="898"/>
                  </a:cubicBezTo>
                  <a:cubicBezTo>
                    <a:pt x="666" y="885"/>
                    <a:pt x="667" y="872"/>
                    <a:pt x="667" y="859"/>
                  </a:cubicBezTo>
                  <a:cubicBezTo>
                    <a:pt x="666" y="834"/>
                    <a:pt x="662" y="810"/>
                    <a:pt x="662" y="785"/>
                  </a:cubicBezTo>
                  <a:cubicBezTo>
                    <a:pt x="663" y="759"/>
                    <a:pt x="664" y="732"/>
                    <a:pt x="662" y="706"/>
                  </a:cubicBezTo>
                  <a:cubicBezTo>
                    <a:pt x="657" y="647"/>
                    <a:pt x="645" y="590"/>
                    <a:pt x="632" y="533"/>
                  </a:cubicBezTo>
                  <a:cubicBezTo>
                    <a:pt x="628" y="513"/>
                    <a:pt x="623" y="492"/>
                    <a:pt x="618" y="472"/>
                  </a:cubicBezTo>
                  <a:cubicBezTo>
                    <a:pt x="613" y="453"/>
                    <a:pt x="607" y="436"/>
                    <a:pt x="592" y="423"/>
                  </a:cubicBezTo>
                  <a:cubicBezTo>
                    <a:pt x="572" y="405"/>
                    <a:pt x="547" y="403"/>
                    <a:pt x="524" y="392"/>
                  </a:cubicBezTo>
                  <a:cubicBezTo>
                    <a:pt x="506" y="384"/>
                    <a:pt x="489" y="373"/>
                    <a:pt x="471" y="364"/>
                  </a:cubicBezTo>
                  <a:cubicBezTo>
                    <a:pt x="463" y="361"/>
                    <a:pt x="455" y="357"/>
                    <a:pt x="449" y="351"/>
                  </a:cubicBezTo>
                  <a:cubicBezTo>
                    <a:pt x="443" y="344"/>
                    <a:pt x="438" y="342"/>
                    <a:pt x="430" y="339"/>
                  </a:cubicBezTo>
                  <a:cubicBezTo>
                    <a:pt x="420" y="336"/>
                    <a:pt x="415" y="332"/>
                    <a:pt x="415" y="323"/>
                  </a:cubicBezTo>
                  <a:cubicBezTo>
                    <a:pt x="415" y="314"/>
                    <a:pt x="415" y="304"/>
                    <a:pt x="414" y="294"/>
                  </a:cubicBezTo>
                  <a:cubicBezTo>
                    <a:pt x="413" y="285"/>
                    <a:pt x="412" y="279"/>
                    <a:pt x="419" y="272"/>
                  </a:cubicBezTo>
                  <a:cubicBezTo>
                    <a:pt x="426" y="263"/>
                    <a:pt x="428" y="252"/>
                    <a:pt x="429" y="241"/>
                  </a:cubicBezTo>
                  <a:cubicBezTo>
                    <a:pt x="430" y="234"/>
                    <a:pt x="431" y="227"/>
                    <a:pt x="431" y="220"/>
                  </a:cubicBezTo>
                  <a:cubicBezTo>
                    <a:pt x="431" y="214"/>
                    <a:pt x="431" y="215"/>
                    <a:pt x="436" y="216"/>
                  </a:cubicBezTo>
                  <a:cubicBezTo>
                    <a:pt x="450" y="219"/>
                    <a:pt x="451" y="211"/>
                    <a:pt x="456" y="200"/>
                  </a:cubicBezTo>
                  <a:cubicBezTo>
                    <a:pt x="461" y="190"/>
                    <a:pt x="474" y="134"/>
                    <a:pt x="449" y="140"/>
                  </a:cubicBezTo>
                  <a:cubicBezTo>
                    <a:pt x="446" y="141"/>
                    <a:pt x="449" y="130"/>
                    <a:pt x="449" y="128"/>
                  </a:cubicBezTo>
                  <a:cubicBezTo>
                    <a:pt x="450" y="121"/>
                    <a:pt x="453" y="114"/>
                    <a:pt x="451" y="106"/>
                  </a:cubicBezTo>
                  <a:cubicBezTo>
                    <a:pt x="448" y="95"/>
                    <a:pt x="452" y="86"/>
                    <a:pt x="450" y="76"/>
                  </a:cubicBezTo>
                  <a:cubicBezTo>
                    <a:pt x="449" y="66"/>
                    <a:pt x="442" y="57"/>
                    <a:pt x="438" y="48"/>
                  </a:cubicBezTo>
                  <a:cubicBezTo>
                    <a:pt x="435" y="43"/>
                    <a:pt x="435" y="38"/>
                    <a:pt x="429" y="35"/>
                  </a:cubicBezTo>
                  <a:cubicBezTo>
                    <a:pt x="423" y="32"/>
                    <a:pt x="421" y="28"/>
                    <a:pt x="416" y="24"/>
                  </a:cubicBezTo>
                  <a:cubicBezTo>
                    <a:pt x="408" y="17"/>
                    <a:pt x="397" y="5"/>
                    <a:pt x="386" y="7"/>
                  </a:cubicBezTo>
                  <a:cubicBezTo>
                    <a:pt x="381" y="9"/>
                    <a:pt x="376" y="5"/>
                    <a:pt x="371" y="3"/>
                  </a:cubicBezTo>
                  <a:cubicBezTo>
                    <a:pt x="369" y="3"/>
                    <a:pt x="366" y="3"/>
                    <a:pt x="364" y="3"/>
                  </a:cubicBezTo>
                  <a:cubicBezTo>
                    <a:pt x="360" y="3"/>
                    <a:pt x="356" y="0"/>
                    <a:pt x="352" y="0"/>
                  </a:cubicBezTo>
                  <a:cubicBezTo>
                    <a:pt x="346" y="0"/>
                    <a:pt x="338" y="1"/>
                    <a:pt x="332" y="1"/>
                  </a:cubicBezTo>
                  <a:cubicBezTo>
                    <a:pt x="330" y="2"/>
                    <a:pt x="328" y="4"/>
                    <a:pt x="325" y="4"/>
                  </a:cubicBezTo>
                  <a:cubicBezTo>
                    <a:pt x="322" y="5"/>
                    <a:pt x="320" y="3"/>
                    <a:pt x="316" y="3"/>
                  </a:cubicBezTo>
                  <a:cubicBezTo>
                    <a:pt x="311" y="3"/>
                    <a:pt x="307" y="9"/>
                    <a:pt x="301" y="10"/>
                  </a:cubicBezTo>
                  <a:cubicBezTo>
                    <a:pt x="299" y="11"/>
                    <a:pt x="297" y="13"/>
                    <a:pt x="295" y="14"/>
                  </a:cubicBezTo>
                  <a:cubicBezTo>
                    <a:pt x="292" y="15"/>
                    <a:pt x="288" y="16"/>
                    <a:pt x="285" y="17"/>
                  </a:cubicBezTo>
                  <a:cubicBezTo>
                    <a:pt x="280" y="20"/>
                    <a:pt x="276" y="22"/>
                    <a:pt x="272" y="25"/>
                  </a:cubicBezTo>
                  <a:cubicBezTo>
                    <a:pt x="269" y="27"/>
                    <a:pt x="268" y="30"/>
                    <a:pt x="266" y="32"/>
                  </a:cubicBezTo>
                  <a:cubicBezTo>
                    <a:pt x="262" y="35"/>
                    <a:pt x="257" y="39"/>
                    <a:pt x="254" y="44"/>
                  </a:cubicBezTo>
                  <a:cubicBezTo>
                    <a:pt x="253" y="47"/>
                    <a:pt x="253" y="50"/>
                    <a:pt x="251" y="53"/>
                  </a:cubicBezTo>
                  <a:cubicBezTo>
                    <a:pt x="250" y="56"/>
                    <a:pt x="247" y="57"/>
                    <a:pt x="245" y="61"/>
                  </a:cubicBezTo>
                  <a:cubicBezTo>
                    <a:pt x="242" y="69"/>
                    <a:pt x="237" y="87"/>
                    <a:pt x="241" y="95"/>
                  </a:cubicBezTo>
                  <a:cubicBezTo>
                    <a:pt x="245" y="104"/>
                    <a:pt x="240" y="115"/>
                    <a:pt x="244" y="124"/>
                  </a:cubicBezTo>
                  <a:cubicBezTo>
                    <a:pt x="245" y="129"/>
                    <a:pt x="239" y="126"/>
                    <a:pt x="236" y="127"/>
                  </a:cubicBezTo>
                  <a:cubicBezTo>
                    <a:pt x="231" y="130"/>
                    <a:pt x="231" y="138"/>
                    <a:pt x="230" y="142"/>
                  </a:cubicBezTo>
                  <a:cubicBezTo>
                    <a:pt x="228" y="155"/>
                    <a:pt x="226" y="170"/>
                    <a:pt x="229" y="183"/>
                  </a:cubicBezTo>
                  <a:cubicBezTo>
                    <a:pt x="233" y="194"/>
                    <a:pt x="238" y="203"/>
                    <a:pt x="250" y="204"/>
                  </a:cubicBezTo>
                  <a:cubicBezTo>
                    <a:pt x="254" y="204"/>
                    <a:pt x="256" y="203"/>
                    <a:pt x="257" y="207"/>
                  </a:cubicBezTo>
                  <a:cubicBezTo>
                    <a:pt x="258" y="212"/>
                    <a:pt x="257" y="219"/>
                    <a:pt x="257" y="224"/>
                  </a:cubicBezTo>
                  <a:cubicBezTo>
                    <a:pt x="257" y="235"/>
                    <a:pt x="258" y="245"/>
                    <a:pt x="263" y="254"/>
                  </a:cubicBezTo>
                  <a:cubicBezTo>
                    <a:pt x="266" y="259"/>
                    <a:pt x="269" y="263"/>
                    <a:pt x="269" y="269"/>
                  </a:cubicBezTo>
                  <a:cubicBezTo>
                    <a:pt x="268" y="274"/>
                    <a:pt x="268" y="278"/>
                    <a:pt x="268" y="283"/>
                  </a:cubicBezTo>
                  <a:cubicBezTo>
                    <a:pt x="268" y="293"/>
                    <a:pt x="268" y="304"/>
                    <a:pt x="268" y="314"/>
                  </a:cubicBezTo>
                  <a:cubicBezTo>
                    <a:pt x="268" y="323"/>
                    <a:pt x="270" y="334"/>
                    <a:pt x="261" y="340"/>
                  </a:cubicBezTo>
                  <a:cubicBezTo>
                    <a:pt x="257" y="343"/>
                    <a:pt x="252" y="346"/>
                    <a:pt x="246" y="348"/>
                  </a:cubicBezTo>
                  <a:cubicBezTo>
                    <a:pt x="242" y="350"/>
                    <a:pt x="238" y="350"/>
                    <a:pt x="234" y="352"/>
                  </a:cubicBezTo>
                  <a:cubicBezTo>
                    <a:pt x="223" y="359"/>
                    <a:pt x="216" y="369"/>
                    <a:pt x="204" y="374"/>
                  </a:cubicBezTo>
                  <a:cubicBezTo>
                    <a:pt x="188" y="382"/>
                    <a:pt x="173" y="392"/>
                    <a:pt x="157" y="400"/>
                  </a:cubicBezTo>
                  <a:cubicBezTo>
                    <a:pt x="138" y="412"/>
                    <a:pt x="115" y="413"/>
                    <a:pt x="96" y="426"/>
                  </a:cubicBezTo>
                  <a:cubicBezTo>
                    <a:pt x="76" y="439"/>
                    <a:pt x="66" y="460"/>
                    <a:pt x="61" y="482"/>
                  </a:cubicBezTo>
                  <a:cubicBezTo>
                    <a:pt x="57" y="497"/>
                    <a:pt x="53" y="511"/>
                    <a:pt x="50" y="526"/>
                  </a:cubicBezTo>
                  <a:cubicBezTo>
                    <a:pt x="44" y="565"/>
                    <a:pt x="38" y="605"/>
                    <a:pt x="33" y="644"/>
                  </a:cubicBezTo>
                  <a:cubicBezTo>
                    <a:pt x="28" y="681"/>
                    <a:pt x="25" y="719"/>
                    <a:pt x="21" y="757"/>
                  </a:cubicBezTo>
                  <a:cubicBezTo>
                    <a:pt x="19" y="777"/>
                    <a:pt x="18" y="797"/>
                    <a:pt x="16" y="817"/>
                  </a:cubicBezTo>
                  <a:cubicBezTo>
                    <a:pt x="14" y="842"/>
                    <a:pt x="9" y="868"/>
                    <a:pt x="7" y="893"/>
                  </a:cubicBezTo>
                  <a:cubicBezTo>
                    <a:pt x="4" y="916"/>
                    <a:pt x="6" y="939"/>
                    <a:pt x="5" y="962"/>
                  </a:cubicBezTo>
                  <a:cubicBezTo>
                    <a:pt x="5" y="972"/>
                    <a:pt x="4" y="982"/>
                    <a:pt x="4" y="992"/>
                  </a:cubicBezTo>
                  <a:cubicBezTo>
                    <a:pt x="4" y="997"/>
                    <a:pt x="5" y="1002"/>
                    <a:pt x="4" y="1007"/>
                  </a:cubicBezTo>
                  <a:cubicBezTo>
                    <a:pt x="4" y="1016"/>
                    <a:pt x="2" y="1024"/>
                    <a:pt x="3" y="1032"/>
                  </a:cubicBezTo>
                  <a:cubicBezTo>
                    <a:pt x="3" y="1041"/>
                    <a:pt x="9" y="1051"/>
                    <a:pt x="7" y="1059"/>
                  </a:cubicBezTo>
                  <a:cubicBezTo>
                    <a:pt x="4" y="1069"/>
                    <a:pt x="8" y="1083"/>
                    <a:pt x="10" y="1094"/>
                  </a:cubicBezTo>
                  <a:cubicBezTo>
                    <a:pt x="12" y="1105"/>
                    <a:pt x="17" y="1115"/>
                    <a:pt x="8" y="1125"/>
                  </a:cubicBezTo>
                  <a:cubicBezTo>
                    <a:pt x="4" y="1129"/>
                    <a:pt x="3" y="1134"/>
                    <a:pt x="3" y="1140"/>
                  </a:cubicBezTo>
                  <a:cubicBezTo>
                    <a:pt x="3" y="1143"/>
                    <a:pt x="3" y="1146"/>
                    <a:pt x="3" y="1150"/>
                  </a:cubicBezTo>
                  <a:cubicBezTo>
                    <a:pt x="4" y="1153"/>
                    <a:pt x="8" y="1158"/>
                    <a:pt x="7" y="1161"/>
                  </a:cubicBezTo>
                  <a:cubicBezTo>
                    <a:pt x="5" y="1167"/>
                    <a:pt x="0" y="1172"/>
                    <a:pt x="4" y="1179"/>
                  </a:cubicBezTo>
                  <a:cubicBezTo>
                    <a:pt x="8" y="1185"/>
                    <a:pt x="14" y="1183"/>
                    <a:pt x="19" y="1186"/>
                  </a:cubicBezTo>
                  <a:cubicBezTo>
                    <a:pt x="22" y="1188"/>
                    <a:pt x="15" y="1195"/>
                    <a:pt x="14" y="1198"/>
                  </a:cubicBezTo>
                  <a:cubicBezTo>
                    <a:pt x="13" y="1204"/>
                    <a:pt x="14" y="1210"/>
                    <a:pt x="15" y="1215"/>
                  </a:cubicBezTo>
                  <a:cubicBezTo>
                    <a:pt x="16" y="1220"/>
                    <a:pt x="12" y="1220"/>
                    <a:pt x="12" y="1223"/>
                  </a:cubicBezTo>
                  <a:cubicBezTo>
                    <a:pt x="13" y="1227"/>
                    <a:pt x="16" y="1229"/>
                    <a:pt x="16" y="1233"/>
                  </a:cubicBezTo>
                  <a:cubicBezTo>
                    <a:pt x="17" y="1245"/>
                    <a:pt x="16" y="1256"/>
                    <a:pt x="14" y="1267"/>
                  </a:cubicBezTo>
                  <a:cubicBezTo>
                    <a:pt x="13" y="1275"/>
                    <a:pt x="20" y="1284"/>
                    <a:pt x="22" y="1291"/>
                  </a:cubicBezTo>
                  <a:cubicBezTo>
                    <a:pt x="26" y="1302"/>
                    <a:pt x="29" y="1313"/>
                    <a:pt x="34" y="1324"/>
                  </a:cubicBezTo>
                  <a:cubicBezTo>
                    <a:pt x="41" y="1343"/>
                    <a:pt x="57" y="1349"/>
                    <a:pt x="76" y="1355"/>
                  </a:cubicBezTo>
                  <a:cubicBezTo>
                    <a:pt x="80" y="1356"/>
                    <a:pt x="88" y="1359"/>
                    <a:pt x="92" y="1358"/>
                  </a:cubicBezTo>
                  <a:cubicBezTo>
                    <a:pt x="96" y="1357"/>
                    <a:pt x="98" y="1357"/>
                    <a:pt x="102" y="1358"/>
                  </a:cubicBezTo>
                  <a:cubicBezTo>
                    <a:pt x="109" y="1359"/>
                    <a:pt x="107" y="1373"/>
                    <a:pt x="108" y="1379"/>
                  </a:cubicBezTo>
                  <a:cubicBezTo>
                    <a:pt x="111" y="1404"/>
                    <a:pt x="115" y="1429"/>
                    <a:pt x="120" y="1453"/>
                  </a:cubicBezTo>
                  <a:cubicBezTo>
                    <a:pt x="124" y="1473"/>
                    <a:pt x="131" y="1492"/>
                    <a:pt x="135" y="1512"/>
                  </a:cubicBezTo>
                  <a:cubicBezTo>
                    <a:pt x="138" y="1532"/>
                    <a:pt x="139" y="1553"/>
                    <a:pt x="140" y="1573"/>
                  </a:cubicBezTo>
                  <a:cubicBezTo>
                    <a:pt x="143" y="1647"/>
                    <a:pt x="140" y="1720"/>
                    <a:pt x="145" y="1793"/>
                  </a:cubicBezTo>
                  <a:cubicBezTo>
                    <a:pt x="150" y="1860"/>
                    <a:pt x="153" y="1926"/>
                    <a:pt x="157" y="1992"/>
                  </a:cubicBezTo>
                  <a:cubicBezTo>
                    <a:pt x="158" y="2011"/>
                    <a:pt x="159" y="2029"/>
                    <a:pt x="159" y="2048"/>
                  </a:cubicBezTo>
                  <a:cubicBezTo>
                    <a:pt x="159" y="2053"/>
                    <a:pt x="160" y="2057"/>
                    <a:pt x="160" y="2062"/>
                  </a:cubicBezTo>
                  <a:cubicBezTo>
                    <a:pt x="160" y="2077"/>
                    <a:pt x="164" y="2090"/>
                    <a:pt x="167" y="2105"/>
                  </a:cubicBezTo>
                  <a:cubicBezTo>
                    <a:pt x="170" y="2114"/>
                    <a:pt x="165" y="2124"/>
                    <a:pt x="169" y="2133"/>
                  </a:cubicBezTo>
                  <a:cubicBezTo>
                    <a:pt x="171" y="2138"/>
                    <a:pt x="173" y="2140"/>
                    <a:pt x="173" y="2144"/>
                  </a:cubicBezTo>
                  <a:cubicBezTo>
                    <a:pt x="175" y="2162"/>
                    <a:pt x="176" y="2179"/>
                    <a:pt x="179" y="2196"/>
                  </a:cubicBezTo>
                  <a:cubicBezTo>
                    <a:pt x="180" y="2202"/>
                    <a:pt x="180" y="2210"/>
                    <a:pt x="184" y="2216"/>
                  </a:cubicBezTo>
                  <a:cubicBezTo>
                    <a:pt x="187" y="2221"/>
                    <a:pt x="192" y="2216"/>
                    <a:pt x="196" y="2217"/>
                  </a:cubicBezTo>
                  <a:cubicBezTo>
                    <a:pt x="205" y="2218"/>
                    <a:pt x="183" y="2238"/>
                    <a:pt x="183" y="2239"/>
                  </a:cubicBezTo>
                  <a:cubicBezTo>
                    <a:pt x="172" y="2249"/>
                    <a:pt x="165" y="2261"/>
                    <a:pt x="151" y="2268"/>
                  </a:cubicBezTo>
                  <a:cubicBezTo>
                    <a:pt x="142" y="2273"/>
                    <a:pt x="128" y="2275"/>
                    <a:pt x="124" y="2287"/>
                  </a:cubicBezTo>
                  <a:cubicBezTo>
                    <a:pt x="123" y="2291"/>
                    <a:pt x="125" y="2298"/>
                    <a:pt x="120" y="2301"/>
                  </a:cubicBezTo>
                  <a:cubicBezTo>
                    <a:pt x="117" y="2303"/>
                    <a:pt x="111" y="2303"/>
                    <a:pt x="111" y="2308"/>
                  </a:cubicBezTo>
                  <a:cubicBezTo>
                    <a:pt x="112" y="2315"/>
                    <a:pt x="117" y="2315"/>
                    <a:pt x="122" y="2316"/>
                  </a:cubicBezTo>
                  <a:cubicBezTo>
                    <a:pt x="128" y="2316"/>
                    <a:pt x="133" y="2318"/>
                    <a:pt x="138" y="2320"/>
                  </a:cubicBezTo>
                  <a:cubicBezTo>
                    <a:pt x="157" y="2323"/>
                    <a:pt x="177" y="2323"/>
                    <a:pt x="197" y="2323"/>
                  </a:cubicBezTo>
                  <a:cubicBezTo>
                    <a:pt x="215" y="2323"/>
                    <a:pt x="233" y="2322"/>
                    <a:pt x="251" y="2320"/>
                  </a:cubicBezTo>
                  <a:cubicBezTo>
                    <a:pt x="260" y="2320"/>
                    <a:pt x="271" y="2320"/>
                    <a:pt x="273" y="2309"/>
                  </a:cubicBezTo>
                  <a:cubicBezTo>
                    <a:pt x="275" y="2299"/>
                    <a:pt x="277" y="2294"/>
                    <a:pt x="287" y="2298"/>
                  </a:cubicBezTo>
                  <a:cubicBezTo>
                    <a:pt x="298" y="2302"/>
                    <a:pt x="305" y="2301"/>
                    <a:pt x="316" y="2298"/>
                  </a:cubicBezTo>
                  <a:cubicBezTo>
                    <a:pt x="323" y="2295"/>
                    <a:pt x="344" y="2293"/>
                    <a:pt x="343" y="2282"/>
                  </a:cubicBezTo>
                  <a:cubicBezTo>
                    <a:pt x="342" y="2275"/>
                    <a:pt x="342" y="2268"/>
                    <a:pt x="342" y="2262"/>
                  </a:cubicBezTo>
                  <a:cubicBezTo>
                    <a:pt x="342" y="2257"/>
                    <a:pt x="343" y="2250"/>
                    <a:pt x="341" y="2246"/>
                  </a:cubicBezTo>
                  <a:cubicBezTo>
                    <a:pt x="339" y="2243"/>
                    <a:pt x="335" y="2244"/>
                    <a:pt x="334" y="2243"/>
                  </a:cubicBezTo>
                  <a:cubicBezTo>
                    <a:pt x="332" y="2239"/>
                    <a:pt x="334" y="2230"/>
                    <a:pt x="334" y="2225"/>
                  </a:cubicBezTo>
                  <a:cubicBezTo>
                    <a:pt x="334" y="2221"/>
                    <a:pt x="334" y="2215"/>
                    <a:pt x="332" y="2211"/>
                  </a:cubicBezTo>
                  <a:cubicBezTo>
                    <a:pt x="330" y="2207"/>
                    <a:pt x="333" y="2204"/>
                    <a:pt x="335" y="2199"/>
                  </a:cubicBezTo>
                  <a:cubicBezTo>
                    <a:pt x="337" y="2194"/>
                    <a:pt x="335" y="2188"/>
                    <a:pt x="334" y="2183"/>
                  </a:cubicBezTo>
                  <a:cubicBezTo>
                    <a:pt x="333" y="2175"/>
                    <a:pt x="334" y="2167"/>
                    <a:pt x="333" y="2159"/>
                  </a:cubicBezTo>
                  <a:cubicBezTo>
                    <a:pt x="332" y="2142"/>
                    <a:pt x="331" y="2124"/>
                    <a:pt x="330" y="2106"/>
                  </a:cubicBezTo>
                  <a:cubicBezTo>
                    <a:pt x="328" y="2086"/>
                    <a:pt x="326" y="2067"/>
                    <a:pt x="324" y="2047"/>
                  </a:cubicBezTo>
                  <a:cubicBezTo>
                    <a:pt x="321" y="2027"/>
                    <a:pt x="323" y="2006"/>
                    <a:pt x="323" y="1985"/>
                  </a:cubicBezTo>
                  <a:cubicBezTo>
                    <a:pt x="322" y="1966"/>
                    <a:pt x="321" y="1947"/>
                    <a:pt x="319" y="1928"/>
                  </a:cubicBezTo>
                  <a:cubicBezTo>
                    <a:pt x="317" y="1902"/>
                    <a:pt x="318" y="1877"/>
                    <a:pt x="316" y="1852"/>
                  </a:cubicBezTo>
                  <a:cubicBezTo>
                    <a:pt x="313" y="1824"/>
                    <a:pt x="309" y="1796"/>
                    <a:pt x="298" y="1770"/>
                  </a:cubicBezTo>
                  <a:cubicBezTo>
                    <a:pt x="294" y="1759"/>
                    <a:pt x="290" y="1752"/>
                    <a:pt x="289" y="1740"/>
                  </a:cubicBezTo>
                  <a:cubicBezTo>
                    <a:pt x="288" y="1729"/>
                    <a:pt x="290" y="1718"/>
                    <a:pt x="289" y="1706"/>
                  </a:cubicBezTo>
                  <a:cubicBezTo>
                    <a:pt x="287" y="1683"/>
                    <a:pt x="283" y="1661"/>
                    <a:pt x="286" y="1638"/>
                  </a:cubicBezTo>
                  <a:cubicBezTo>
                    <a:pt x="289" y="1609"/>
                    <a:pt x="292" y="1580"/>
                    <a:pt x="296" y="1552"/>
                  </a:cubicBezTo>
                  <a:cubicBezTo>
                    <a:pt x="302" y="1520"/>
                    <a:pt x="305" y="1488"/>
                    <a:pt x="309" y="1456"/>
                  </a:cubicBezTo>
                  <a:cubicBezTo>
                    <a:pt x="312" y="1435"/>
                    <a:pt x="315" y="1415"/>
                    <a:pt x="319" y="1394"/>
                  </a:cubicBezTo>
                  <a:cubicBezTo>
                    <a:pt x="320" y="1384"/>
                    <a:pt x="318" y="1375"/>
                    <a:pt x="319" y="1365"/>
                  </a:cubicBezTo>
                  <a:cubicBezTo>
                    <a:pt x="320" y="1355"/>
                    <a:pt x="323" y="1345"/>
                    <a:pt x="322" y="1335"/>
                  </a:cubicBezTo>
                  <a:cubicBezTo>
                    <a:pt x="322" y="1326"/>
                    <a:pt x="322" y="1318"/>
                    <a:pt x="325" y="1309"/>
                  </a:cubicBezTo>
                  <a:cubicBezTo>
                    <a:pt x="327" y="1304"/>
                    <a:pt x="329" y="1292"/>
                    <a:pt x="332" y="1289"/>
                  </a:cubicBezTo>
                  <a:cubicBezTo>
                    <a:pt x="332" y="1290"/>
                    <a:pt x="336" y="1293"/>
                    <a:pt x="337" y="1293"/>
                  </a:cubicBezTo>
                  <a:cubicBezTo>
                    <a:pt x="341" y="1295"/>
                    <a:pt x="343" y="1295"/>
                    <a:pt x="344" y="1300"/>
                  </a:cubicBezTo>
                  <a:cubicBezTo>
                    <a:pt x="347" y="1311"/>
                    <a:pt x="349" y="1323"/>
                    <a:pt x="352" y="1334"/>
                  </a:cubicBezTo>
                  <a:cubicBezTo>
                    <a:pt x="357" y="1354"/>
                    <a:pt x="359" y="1375"/>
                    <a:pt x="361" y="1396"/>
                  </a:cubicBezTo>
                  <a:cubicBezTo>
                    <a:pt x="365" y="1433"/>
                    <a:pt x="372" y="1470"/>
                    <a:pt x="376" y="1507"/>
                  </a:cubicBezTo>
                  <a:cubicBezTo>
                    <a:pt x="378" y="1526"/>
                    <a:pt x="381" y="1544"/>
                    <a:pt x="384" y="1561"/>
                  </a:cubicBezTo>
                  <a:cubicBezTo>
                    <a:pt x="388" y="1578"/>
                    <a:pt x="390" y="1597"/>
                    <a:pt x="396" y="1613"/>
                  </a:cubicBezTo>
                  <a:cubicBezTo>
                    <a:pt x="404" y="1633"/>
                    <a:pt x="411" y="1652"/>
                    <a:pt x="415" y="1674"/>
                  </a:cubicBezTo>
                  <a:cubicBezTo>
                    <a:pt x="418" y="1695"/>
                    <a:pt x="422" y="1715"/>
                    <a:pt x="424" y="1736"/>
                  </a:cubicBezTo>
                  <a:cubicBezTo>
                    <a:pt x="429" y="1768"/>
                    <a:pt x="430" y="1800"/>
                    <a:pt x="433" y="1832"/>
                  </a:cubicBezTo>
                  <a:cubicBezTo>
                    <a:pt x="436" y="1867"/>
                    <a:pt x="440" y="1901"/>
                    <a:pt x="443" y="1936"/>
                  </a:cubicBezTo>
                  <a:cubicBezTo>
                    <a:pt x="447" y="1970"/>
                    <a:pt x="451" y="2004"/>
                    <a:pt x="455" y="2039"/>
                  </a:cubicBezTo>
                  <a:cubicBezTo>
                    <a:pt x="458" y="2067"/>
                    <a:pt x="457" y="2096"/>
                    <a:pt x="459" y="2124"/>
                  </a:cubicBezTo>
                  <a:cubicBezTo>
                    <a:pt x="460" y="2144"/>
                    <a:pt x="468" y="2163"/>
                    <a:pt x="471" y="2183"/>
                  </a:cubicBezTo>
                  <a:cubicBezTo>
                    <a:pt x="472" y="2192"/>
                    <a:pt x="471" y="2201"/>
                    <a:pt x="472" y="2210"/>
                  </a:cubicBezTo>
                  <a:cubicBezTo>
                    <a:pt x="472" y="2218"/>
                    <a:pt x="479" y="2223"/>
                    <a:pt x="478" y="2230"/>
                  </a:cubicBezTo>
                  <a:cubicBezTo>
                    <a:pt x="477" y="2234"/>
                    <a:pt x="478" y="2238"/>
                    <a:pt x="477" y="2243"/>
                  </a:cubicBezTo>
                  <a:cubicBezTo>
                    <a:pt x="477" y="2246"/>
                    <a:pt x="473" y="2245"/>
                    <a:pt x="471" y="2246"/>
                  </a:cubicBezTo>
                  <a:cubicBezTo>
                    <a:pt x="469" y="2248"/>
                    <a:pt x="469" y="2256"/>
                    <a:pt x="469" y="2259"/>
                  </a:cubicBezTo>
                  <a:cubicBezTo>
                    <a:pt x="468" y="2266"/>
                    <a:pt x="468" y="2274"/>
                    <a:pt x="468" y="2282"/>
                  </a:cubicBezTo>
                  <a:cubicBezTo>
                    <a:pt x="467" y="2289"/>
                    <a:pt x="468" y="2295"/>
                    <a:pt x="476" y="2298"/>
                  </a:cubicBezTo>
                  <a:cubicBezTo>
                    <a:pt x="480" y="2300"/>
                    <a:pt x="484" y="2303"/>
                    <a:pt x="489" y="2304"/>
                  </a:cubicBezTo>
                  <a:cubicBezTo>
                    <a:pt x="491" y="2305"/>
                    <a:pt x="497" y="2301"/>
                    <a:pt x="498" y="2302"/>
                  </a:cubicBezTo>
                  <a:cubicBezTo>
                    <a:pt x="501" y="2305"/>
                    <a:pt x="488" y="2317"/>
                    <a:pt x="497" y="2323"/>
                  </a:cubicBezTo>
                  <a:cubicBezTo>
                    <a:pt x="505" y="2329"/>
                    <a:pt x="519" y="2329"/>
                    <a:pt x="529" y="2330"/>
                  </a:cubicBezTo>
                  <a:cubicBezTo>
                    <a:pt x="550" y="2334"/>
                    <a:pt x="572" y="2335"/>
                    <a:pt x="594" y="2334"/>
                  </a:cubicBezTo>
                  <a:cubicBezTo>
                    <a:pt x="607" y="2333"/>
                    <a:pt x="620" y="2331"/>
                    <a:pt x="634" y="2331"/>
                  </a:cubicBezTo>
                  <a:cubicBezTo>
                    <a:pt x="645" y="2331"/>
                    <a:pt x="640" y="2319"/>
                    <a:pt x="634" y="2314"/>
                  </a:cubicBezTo>
                  <a:cubicBezTo>
                    <a:pt x="631" y="2312"/>
                    <a:pt x="630" y="2313"/>
                    <a:pt x="630" y="2309"/>
                  </a:cubicBezTo>
                  <a:cubicBezTo>
                    <a:pt x="630" y="2304"/>
                    <a:pt x="630" y="2298"/>
                    <a:pt x="629" y="2293"/>
                  </a:cubicBezTo>
                  <a:cubicBezTo>
                    <a:pt x="625" y="2283"/>
                    <a:pt x="615" y="2275"/>
                    <a:pt x="611" y="2265"/>
                  </a:cubicBezTo>
                  <a:cubicBezTo>
                    <a:pt x="606" y="2255"/>
                    <a:pt x="597" y="2249"/>
                    <a:pt x="594" y="2238"/>
                  </a:cubicBezTo>
                  <a:cubicBezTo>
                    <a:pt x="590" y="2228"/>
                    <a:pt x="591" y="2228"/>
                    <a:pt x="597" y="2219"/>
                  </a:cubicBezTo>
                  <a:cubicBezTo>
                    <a:pt x="604" y="2208"/>
                    <a:pt x="600" y="2196"/>
                    <a:pt x="598" y="2184"/>
                  </a:cubicBezTo>
                  <a:cubicBezTo>
                    <a:pt x="596" y="2174"/>
                    <a:pt x="595" y="2163"/>
                    <a:pt x="594" y="2152"/>
                  </a:cubicBezTo>
                  <a:cubicBezTo>
                    <a:pt x="592" y="2132"/>
                    <a:pt x="584" y="2106"/>
                    <a:pt x="593" y="2087"/>
                  </a:cubicBezTo>
                  <a:cubicBezTo>
                    <a:pt x="599" y="2074"/>
                    <a:pt x="597" y="2057"/>
                    <a:pt x="598" y="2043"/>
                  </a:cubicBezTo>
                  <a:cubicBezTo>
                    <a:pt x="598" y="2006"/>
                    <a:pt x="597" y="1969"/>
                    <a:pt x="596" y="1932"/>
                  </a:cubicBezTo>
                  <a:cubicBezTo>
                    <a:pt x="596" y="1891"/>
                    <a:pt x="595" y="1851"/>
                    <a:pt x="591" y="1810"/>
                  </a:cubicBezTo>
                  <a:cubicBezTo>
                    <a:pt x="590" y="1792"/>
                    <a:pt x="587" y="1773"/>
                    <a:pt x="586" y="1754"/>
                  </a:cubicBezTo>
                  <a:cubicBezTo>
                    <a:pt x="584" y="1732"/>
                    <a:pt x="585" y="1711"/>
                    <a:pt x="582" y="1689"/>
                  </a:cubicBezTo>
                  <a:cubicBezTo>
                    <a:pt x="579" y="1666"/>
                    <a:pt x="583" y="1642"/>
                    <a:pt x="584" y="1619"/>
                  </a:cubicBezTo>
                  <a:cubicBezTo>
                    <a:pt x="584" y="1586"/>
                    <a:pt x="589" y="1553"/>
                    <a:pt x="592" y="1520"/>
                  </a:cubicBezTo>
                  <a:cubicBezTo>
                    <a:pt x="596" y="1465"/>
                    <a:pt x="584" y="1412"/>
                    <a:pt x="584" y="1357"/>
                  </a:cubicBezTo>
                  <a:cubicBezTo>
                    <a:pt x="584" y="1352"/>
                    <a:pt x="583" y="1341"/>
                    <a:pt x="588" y="1338"/>
                  </a:cubicBezTo>
                  <a:cubicBezTo>
                    <a:pt x="592" y="1336"/>
                    <a:pt x="597" y="1335"/>
                    <a:pt x="601" y="1332"/>
                  </a:cubicBezTo>
                  <a:cubicBezTo>
                    <a:pt x="607" y="1329"/>
                    <a:pt x="615" y="1328"/>
                    <a:pt x="619" y="1324"/>
                  </a:cubicBezTo>
                  <a:cubicBezTo>
                    <a:pt x="622" y="1321"/>
                    <a:pt x="624" y="1319"/>
                    <a:pt x="629" y="1319"/>
                  </a:cubicBezTo>
                  <a:cubicBezTo>
                    <a:pt x="635" y="1318"/>
                    <a:pt x="636" y="1314"/>
                    <a:pt x="637" y="1309"/>
                  </a:cubicBezTo>
                  <a:cubicBezTo>
                    <a:pt x="639" y="1305"/>
                    <a:pt x="641" y="1304"/>
                    <a:pt x="645" y="1302"/>
                  </a:cubicBezTo>
                  <a:cubicBezTo>
                    <a:pt x="651" y="1300"/>
                    <a:pt x="652" y="1293"/>
                    <a:pt x="654" y="1288"/>
                  </a:cubicBezTo>
                  <a:cubicBezTo>
                    <a:pt x="656" y="1278"/>
                    <a:pt x="657" y="1268"/>
                    <a:pt x="660" y="1258"/>
                  </a:cubicBezTo>
                  <a:cubicBezTo>
                    <a:pt x="663" y="1247"/>
                    <a:pt x="661" y="1232"/>
                    <a:pt x="661" y="1220"/>
                  </a:cubicBezTo>
                  <a:cubicBezTo>
                    <a:pt x="661" y="1218"/>
                    <a:pt x="659" y="1207"/>
                    <a:pt x="661" y="1207"/>
                  </a:cubicBezTo>
                  <a:cubicBezTo>
                    <a:pt x="663" y="1207"/>
                    <a:pt x="666" y="1205"/>
                    <a:pt x="665" y="1203"/>
                  </a:cubicBezTo>
                  <a:cubicBezTo>
                    <a:pt x="665" y="1200"/>
                    <a:pt x="663" y="1199"/>
                    <a:pt x="663" y="1196"/>
                  </a:cubicBezTo>
                  <a:cubicBezTo>
                    <a:pt x="664" y="1189"/>
                    <a:pt x="667" y="1185"/>
                    <a:pt x="667" y="1178"/>
                  </a:cubicBezTo>
                  <a:cubicBezTo>
                    <a:pt x="666" y="1173"/>
                    <a:pt x="666" y="1167"/>
                    <a:pt x="663" y="1164"/>
                  </a:cubicBezTo>
                  <a:cubicBezTo>
                    <a:pt x="659" y="1158"/>
                    <a:pt x="664" y="1160"/>
                    <a:pt x="667" y="1156"/>
                  </a:cubicBezTo>
                  <a:cubicBezTo>
                    <a:pt x="671" y="1150"/>
                    <a:pt x="670" y="1138"/>
                    <a:pt x="668" y="1131"/>
                  </a:cubicBezTo>
                  <a:cubicBezTo>
                    <a:pt x="667" y="1127"/>
                    <a:pt x="665" y="1127"/>
                    <a:pt x="663" y="1123"/>
                  </a:cubicBezTo>
                  <a:cubicBezTo>
                    <a:pt x="661" y="1119"/>
                    <a:pt x="667" y="1112"/>
                    <a:pt x="669" y="1109"/>
                  </a:cubicBezTo>
                  <a:cubicBezTo>
                    <a:pt x="671" y="1103"/>
                    <a:pt x="673" y="1096"/>
                    <a:pt x="671" y="1089"/>
                  </a:cubicBezTo>
                  <a:cubicBezTo>
                    <a:pt x="670" y="1082"/>
                    <a:pt x="664" y="1076"/>
                    <a:pt x="667" y="1068"/>
                  </a:cubicBezTo>
                  <a:cubicBezTo>
                    <a:pt x="670" y="1062"/>
                    <a:pt x="674" y="1058"/>
                    <a:pt x="675" y="1052"/>
                  </a:cubicBezTo>
                  <a:cubicBezTo>
                    <a:pt x="676" y="1046"/>
                    <a:pt x="676" y="1041"/>
                    <a:pt x="676" y="1035"/>
                  </a:cubicBezTo>
                  <a:cubicBezTo>
                    <a:pt x="676" y="1022"/>
                    <a:pt x="680" y="1011"/>
                    <a:pt x="676" y="998"/>
                  </a:cubicBezTo>
                  <a:moveTo>
                    <a:pt x="95" y="1318"/>
                  </a:moveTo>
                  <a:cubicBezTo>
                    <a:pt x="91" y="1319"/>
                    <a:pt x="87" y="1323"/>
                    <a:pt x="86" y="1318"/>
                  </a:cubicBezTo>
                  <a:cubicBezTo>
                    <a:pt x="85" y="1310"/>
                    <a:pt x="85" y="1301"/>
                    <a:pt x="82" y="1294"/>
                  </a:cubicBezTo>
                  <a:cubicBezTo>
                    <a:pt x="80" y="1292"/>
                    <a:pt x="82" y="1291"/>
                    <a:pt x="83" y="1290"/>
                  </a:cubicBezTo>
                  <a:cubicBezTo>
                    <a:pt x="84" y="1286"/>
                    <a:pt x="81" y="1281"/>
                    <a:pt x="81" y="1278"/>
                  </a:cubicBezTo>
                  <a:cubicBezTo>
                    <a:pt x="80" y="1272"/>
                    <a:pt x="79" y="1266"/>
                    <a:pt x="86" y="1265"/>
                  </a:cubicBezTo>
                  <a:cubicBezTo>
                    <a:pt x="87" y="1265"/>
                    <a:pt x="94" y="1260"/>
                    <a:pt x="95" y="1262"/>
                  </a:cubicBezTo>
                  <a:cubicBezTo>
                    <a:pt x="98" y="1267"/>
                    <a:pt x="96" y="1278"/>
                    <a:pt x="96" y="1283"/>
                  </a:cubicBezTo>
                  <a:cubicBezTo>
                    <a:pt x="97" y="1291"/>
                    <a:pt x="97" y="1299"/>
                    <a:pt x="98" y="1307"/>
                  </a:cubicBezTo>
                  <a:cubicBezTo>
                    <a:pt x="99" y="1313"/>
                    <a:pt x="102" y="1316"/>
                    <a:pt x="95" y="1318"/>
                  </a:cubicBezTo>
                  <a:moveTo>
                    <a:pt x="146" y="764"/>
                  </a:moveTo>
                  <a:cubicBezTo>
                    <a:pt x="146" y="772"/>
                    <a:pt x="143" y="781"/>
                    <a:pt x="142" y="790"/>
                  </a:cubicBezTo>
                  <a:cubicBezTo>
                    <a:pt x="141" y="800"/>
                    <a:pt x="143" y="810"/>
                    <a:pt x="145" y="821"/>
                  </a:cubicBezTo>
                  <a:cubicBezTo>
                    <a:pt x="146" y="828"/>
                    <a:pt x="147" y="836"/>
                    <a:pt x="145" y="844"/>
                  </a:cubicBezTo>
                  <a:cubicBezTo>
                    <a:pt x="144" y="853"/>
                    <a:pt x="140" y="862"/>
                    <a:pt x="139" y="872"/>
                  </a:cubicBezTo>
                  <a:cubicBezTo>
                    <a:pt x="139" y="882"/>
                    <a:pt x="139" y="893"/>
                    <a:pt x="138" y="904"/>
                  </a:cubicBezTo>
                  <a:cubicBezTo>
                    <a:pt x="137" y="913"/>
                    <a:pt x="134" y="922"/>
                    <a:pt x="135" y="931"/>
                  </a:cubicBezTo>
                  <a:cubicBezTo>
                    <a:pt x="135" y="940"/>
                    <a:pt x="142" y="948"/>
                    <a:pt x="139" y="958"/>
                  </a:cubicBezTo>
                  <a:cubicBezTo>
                    <a:pt x="137" y="969"/>
                    <a:pt x="131" y="980"/>
                    <a:pt x="128" y="991"/>
                  </a:cubicBezTo>
                  <a:cubicBezTo>
                    <a:pt x="125" y="999"/>
                    <a:pt x="123" y="1007"/>
                    <a:pt x="122" y="1016"/>
                  </a:cubicBezTo>
                  <a:cubicBezTo>
                    <a:pt x="120" y="1023"/>
                    <a:pt x="116" y="1029"/>
                    <a:pt x="114" y="1036"/>
                  </a:cubicBezTo>
                  <a:cubicBezTo>
                    <a:pt x="110" y="1050"/>
                    <a:pt x="108" y="1065"/>
                    <a:pt x="106" y="1080"/>
                  </a:cubicBezTo>
                  <a:cubicBezTo>
                    <a:pt x="104" y="1087"/>
                    <a:pt x="96" y="1090"/>
                    <a:pt x="104" y="1095"/>
                  </a:cubicBezTo>
                  <a:cubicBezTo>
                    <a:pt x="108" y="1099"/>
                    <a:pt x="104" y="1113"/>
                    <a:pt x="103" y="1118"/>
                  </a:cubicBezTo>
                  <a:cubicBezTo>
                    <a:pt x="103" y="1120"/>
                    <a:pt x="101" y="1141"/>
                    <a:pt x="99" y="1142"/>
                  </a:cubicBezTo>
                  <a:cubicBezTo>
                    <a:pt x="96" y="1142"/>
                    <a:pt x="91" y="1128"/>
                    <a:pt x="91" y="1125"/>
                  </a:cubicBezTo>
                  <a:cubicBezTo>
                    <a:pt x="91" y="1119"/>
                    <a:pt x="92" y="1114"/>
                    <a:pt x="93" y="1108"/>
                  </a:cubicBezTo>
                  <a:cubicBezTo>
                    <a:pt x="93" y="1104"/>
                    <a:pt x="91" y="1099"/>
                    <a:pt x="92" y="1095"/>
                  </a:cubicBezTo>
                  <a:cubicBezTo>
                    <a:pt x="98" y="1080"/>
                    <a:pt x="100" y="1065"/>
                    <a:pt x="104" y="1050"/>
                  </a:cubicBezTo>
                  <a:cubicBezTo>
                    <a:pt x="106" y="1042"/>
                    <a:pt x="108" y="1034"/>
                    <a:pt x="110" y="1026"/>
                  </a:cubicBezTo>
                  <a:cubicBezTo>
                    <a:pt x="112" y="1018"/>
                    <a:pt x="118" y="1008"/>
                    <a:pt x="117" y="1000"/>
                  </a:cubicBezTo>
                  <a:cubicBezTo>
                    <a:pt x="117" y="994"/>
                    <a:pt x="115" y="988"/>
                    <a:pt x="117" y="982"/>
                  </a:cubicBezTo>
                  <a:cubicBezTo>
                    <a:pt x="118" y="977"/>
                    <a:pt x="120" y="973"/>
                    <a:pt x="121" y="969"/>
                  </a:cubicBezTo>
                  <a:cubicBezTo>
                    <a:pt x="123" y="958"/>
                    <a:pt x="122" y="947"/>
                    <a:pt x="124" y="936"/>
                  </a:cubicBezTo>
                  <a:cubicBezTo>
                    <a:pt x="126" y="924"/>
                    <a:pt x="130" y="918"/>
                    <a:pt x="126" y="906"/>
                  </a:cubicBezTo>
                  <a:cubicBezTo>
                    <a:pt x="124" y="897"/>
                    <a:pt x="129" y="888"/>
                    <a:pt x="132" y="879"/>
                  </a:cubicBezTo>
                  <a:cubicBezTo>
                    <a:pt x="135" y="868"/>
                    <a:pt x="133" y="860"/>
                    <a:pt x="133" y="849"/>
                  </a:cubicBezTo>
                  <a:cubicBezTo>
                    <a:pt x="132" y="842"/>
                    <a:pt x="129" y="832"/>
                    <a:pt x="131" y="825"/>
                  </a:cubicBezTo>
                  <a:cubicBezTo>
                    <a:pt x="137" y="805"/>
                    <a:pt x="133" y="784"/>
                    <a:pt x="137" y="764"/>
                  </a:cubicBezTo>
                  <a:cubicBezTo>
                    <a:pt x="140" y="753"/>
                    <a:pt x="142" y="743"/>
                    <a:pt x="144" y="733"/>
                  </a:cubicBezTo>
                  <a:cubicBezTo>
                    <a:pt x="144" y="731"/>
                    <a:pt x="145" y="722"/>
                    <a:pt x="147" y="720"/>
                  </a:cubicBezTo>
                  <a:cubicBezTo>
                    <a:pt x="147" y="721"/>
                    <a:pt x="147" y="731"/>
                    <a:pt x="147" y="732"/>
                  </a:cubicBezTo>
                  <a:cubicBezTo>
                    <a:pt x="147" y="736"/>
                    <a:pt x="148" y="738"/>
                    <a:pt x="148" y="742"/>
                  </a:cubicBezTo>
                  <a:cubicBezTo>
                    <a:pt x="150" y="749"/>
                    <a:pt x="147" y="756"/>
                    <a:pt x="146" y="764"/>
                  </a:cubicBezTo>
                  <a:moveTo>
                    <a:pt x="565" y="1169"/>
                  </a:moveTo>
                  <a:cubicBezTo>
                    <a:pt x="567" y="1152"/>
                    <a:pt x="564" y="1133"/>
                    <a:pt x="562" y="1116"/>
                  </a:cubicBezTo>
                  <a:cubicBezTo>
                    <a:pt x="561" y="1109"/>
                    <a:pt x="557" y="1103"/>
                    <a:pt x="563" y="1097"/>
                  </a:cubicBezTo>
                  <a:cubicBezTo>
                    <a:pt x="565" y="1095"/>
                    <a:pt x="571" y="1093"/>
                    <a:pt x="567" y="1088"/>
                  </a:cubicBezTo>
                  <a:cubicBezTo>
                    <a:pt x="564" y="1085"/>
                    <a:pt x="562" y="1087"/>
                    <a:pt x="561" y="1083"/>
                  </a:cubicBezTo>
                  <a:cubicBezTo>
                    <a:pt x="555" y="1062"/>
                    <a:pt x="549" y="1042"/>
                    <a:pt x="546" y="1020"/>
                  </a:cubicBezTo>
                  <a:cubicBezTo>
                    <a:pt x="543" y="994"/>
                    <a:pt x="534" y="969"/>
                    <a:pt x="535" y="943"/>
                  </a:cubicBezTo>
                  <a:cubicBezTo>
                    <a:pt x="535" y="924"/>
                    <a:pt x="533" y="904"/>
                    <a:pt x="533" y="885"/>
                  </a:cubicBezTo>
                  <a:cubicBezTo>
                    <a:pt x="533" y="863"/>
                    <a:pt x="534" y="840"/>
                    <a:pt x="534" y="817"/>
                  </a:cubicBezTo>
                  <a:cubicBezTo>
                    <a:pt x="534" y="797"/>
                    <a:pt x="533" y="778"/>
                    <a:pt x="534" y="758"/>
                  </a:cubicBezTo>
                  <a:cubicBezTo>
                    <a:pt x="534" y="750"/>
                    <a:pt x="534" y="741"/>
                    <a:pt x="535" y="733"/>
                  </a:cubicBezTo>
                  <a:cubicBezTo>
                    <a:pt x="536" y="728"/>
                    <a:pt x="537" y="722"/>
                    <a:pt x="537" y="717"/>
                  </a:cubicBezTo>
                  <a:cubicBezTo>
                    <a:pt x="537" y="715"/>
                    <a:pt x="537" y="710"/>
                    <a:pt x="538" y="709"/>
                  </a:cubicBezTo>
                  <a:cubicBezTo>
                    <a:pt x="537" y="710"/>
                    <a:pt x="545" y="727"/>
                    <a:pt x="546" y="729"/>
                  </a:cubicBezTo>
                  <a:cubicBezTo>
                    <a:pt x="549" y="739"/>
                    <a:pt x="549" y="749"/>
                    <a:pt x="550" y="760"/>
                  </a:cubicBezTo>
                  <a:cubicBezTo>
                    <a:pt x="550" y="769"/>
                    <a:pt x="551" y="778"/>
                    <a:pt x="553" y="787"/>
                  </a:cubicBezTo>
                  <a:cubicBezTo>
                    <a:pt x="555" y="799"/>
                    <a:pt x="553" y="810"/>
                    <a:pt x="555" y="822"/>
                  </a:cubicBezTo>
                  <a:cubicBezTo>
                    <a:pt x="556" y="836"/>
                    <a:pt x="554" y="848"/>
                    <a:pt x="554" y="862"/>
                  </a:cubicBezTo>
                  <a:cubicBezTo>
                    <a:pt x="553" y="874"/>
                    <a:pt x="555" y="887"/>
                    <a:pt x="557" y="899"/>
                  </a:cubicBezTo>
                  <a:cubicBezTo>
                    <a:pt x="558" y="908"/>
                    <a:pt x="559" y="916"/>
                    <a:pt x="562" y="925"/>
                  </a:cubicBezTo>
                  <a:cubicBezTo>
                    <a:pt x="566" y="936"/>
                    <a:pt x="565" y="952"/>
                    <a:pt x="566" y="964"/>
                  </a:cubicBezTo>
                  <a:cubicBezTo>
                    <a:pt x="566" y="978"/>
                    <a:pt x="572" y="989"/>
                    <a:pt x="573" y="1003"/>
                  </a:cubicBezTo>
                  <a:cubicBezTo>
                    <a:pt x="575" y="1015"/>
                    <a:pt x="575" y="1027"/>
                    <a:pt x="577" y="1038"/>
                  </a:cubicBezTo>
                  <a:cubicBezTo>
                    <a:pt x="579" y="1047"/>
                    <a:pt x="577" y="1053"/>
                    <a:pt x="575" y="1062"/>
                  </a:cubicBezTo>
                  <a:cubicBezTo>
                    <a:pt x="574" y="1072"/>
                    <a:pt x="580" y="1081"/>
                    <a:pt x="578" y="1090"/>
                  </a:cubicBezTo>
                  <a:cubicBezTo>
                    <a:pt x="578" y="1097"/>
                    <a:pt x="576" y="1103"/>
                    <a:pt x="576" y="1109"/>
                  </a:cubicBezTo>
                  <a:cubicBezTo>
                    <a:pt x="576" y="1115"/>
                    <a:pt x="578" y="1122"/>
                    <a:pt x="576" y="1127"/>
                  </a:cubicBezTo>
                  <a:cubicBezTo>
                    <a:pt x="574" y="1134"/>
                    <a:pt x="574" y="1136"/>
                    <a:pt x="578" y="1142"/>
                  </a:cubicBezTo>
                  <a:cubicBezTo>
                    <a:pt x="580" y="1144"/>
                    <a:pt x="584" y="1147"/>
                    <a:pt x="583" y="1150"/>
                  </a:cubicBezTo>
                  <a:cubicBezTo>
                    <a:pt x="582" y="1154"/>
                    <a:pt x="580" y="1158"/>
                    <a:pt x="578" y="1161"/>
                  </a:cubicBezTo>
                  <a:cubicBezTo>
                    <a:pt x="577" y="1163"/>
                    <a:pt x="571" y="1167"/>
                    <a:pt x="571" y="1167"/>
                  </a:cubicBezTo>
                  <a:cubicBezTo>
                    <a:pt x="571" y="1171"/>
                    <a:pt x="572" y="1173"/>
                    <a:pt x="568" y="1177"/>
                  </a:cubicBezTo>
                  <a:cubicBezTo>
                    <a:pt x="564" y="1180"/>
                    <a:pt x="565" y="1171"/>
                    <a:pt x="565" y="1169"/>
                  </a:cubicBezTo>
                  <a:moveTo>
                    <a:pt x="584" y="1252"/>
                  </a:moveTo>
                  <a:cubicBezTo>
                    <a:pt x="580" y="1259"/>
                    <a:pt x="583" y="1265"/>
                    <a:pt x="583" y="1271"/>
                  </a:cubicBezTo>
                  <a:cubicBezTo>
                    <a:pt x="583" y="1273"/>
                    <a:pt x="578" y="1289"/>
                    <a:pt x="579" y="1290"/>
                  </a:cubicBezTo>
                  <a:cubicBezTo>
                    <a:pt x="576" y="1288"/>
                    <a:pt x="576" y="1279"/>
                    <a:pt x="575" y="1276"/>
                  </a:cubicBezTo>
                  <a:cubicBezTo>
                    <a:pt x="574" y="1271"/>
                    <a:pt x="572" y="1266"/>
                    <a:pt x="572" y="1261"/>
                  </a:cubicBezTo>
                  <a:cubicBezTo>
                    <a:pt x="571" y="1257"/>
                    <a:pt x="569" y="1244"/>
                    <a:pt x="575" y="1242"/>
                  </a:cubicBezTo>
                  <a:cubicBezTo>
                    <a:pt x="577" y="1241"/>
                    <a:pt x="585" y="1249"/>
                    <a:pt x="584" y="1252"/>
                  </a:cubicBezTo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lIns="428085" tIns="214043" rIns="428085" bIns="214043"/>
            <a:lstStyle/>
            <a:p>
              <a:pPr defTabSz="428085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676" name="Gruppieren 281">
              <a:extLst>
                <a:ext uri="{FF2B5EF4-FFF2-40B4-BE49-F238E27FC236}">
                  <a16:creationId xmlns:a16="http://schemas.microsoft.com/office/drawing/2014/main" id="{F2A1C7FC-6E72-4A60-8D09-08054EC1F331}"/>
                </a:ext>
              </a:extLst>
            </p:cNvPr>
            <p:cNvGrpSpPr/>
            <p:nvPr/>
          </p:nvGrpSpPr>
          <p:grpSpPr>
            <a:xfrm>
              <a:off x="2739987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677" name="Freeform 156">
                <a:extLst>
                  <a:ext uri="{FF2B5EF4-FFF2-40B4-BE49-F238E27FC236}">
                    <a16:creationId xmlns:a16="http://schemas.microsoft.com/office/drawing/2014/main" id="{3A46C305-1AA2-46D4-9231-D05F8843E1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78" name="Freeform 159">
                <a:extLst>
                  <a:ext uri="{FF2B5EF4-FFF2-40B4-BE49-F238E27FC236}">
                    <a16:creationId xmlns:a16="http://schemas.microsoft.com/office/drawing/2014/main" id="{8FB4585F-8C5E-4517-AA2D-80F16A5221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79" name="Freeform 160">
                <a:extLst>
                  <a:ext uri="{FF2B5EF4-FFF2-40B4-BE49-F238E27FC236}">
                    <a16:creationId xmlns:a16="http://schemas.microsoft.com/office/drawing/2014/main" id="{D0943157-3E0A-4A92-BBA5-6D25185C7D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0" name="Freeform 179">
                <a:extLst>
                  <a:ext uri="{FF2B5EF4-FFF2-40B4-BE49-F238E27FC236}">
                    <a16:creationId xmlns:a16="http://schemas.microsoft.com/office/drawing/2014/main" id="{DC9514E3-6244-49D0-87EC-F80E38C3A5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1" name="Freeform 180">
                <a:extLst>
                  <a:ext uri="{FF2B5EF4-FFF2-40B4-BE49-F238E27FC236}">
                    <a16:creationId xmlns:a16="http://schemas.microsoft.com/office/drawing/2014/main" id="{1DD57EE1-48DA-4587-A517-628D5D6D8F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2" name="Freeform 181">
                <a:extLst>
                  <a:ext uri="{FF2B5EF4-FFF2-40B4-BE49-F238E27FC236}">
                    <a16:creationId xmlns:a16="http://schemas.microsoft.com/office/drawing/2014/main" id="{05E9FE28-7AD4-41E1-AA67-AE668F9E05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3" name="Freeform 182">
                <a:extLst>
                  <a:ext uri="{FF2B5EF4-FFF2-40B4-BE49-F238E27FC236}">
                    <a16:creationId xmlns:a16="http://schemas.microsoft.com/office/drawing/2014/main" id="{C670B225-8BED-40C3-A281-DAED9A370E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4" name="Freeform 183">
                <a:extLst>
                  <a:ext uri="{FF2B5EF4-FFF2-40B4-BE49-F238E27FC236}">
                    <a16:creationId xmlns:a16="http://schemas.microsoft.com/office/drawing/2014/main" id="{574EEAAF-45DF-47D4-BA65-04F5EEF2AD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5" name="Freeform 184">
                <a:extLst>
                  <a:ext uri="{FF2B5EF4-FFF2-40B4-BE49-F238E27FC236}">
                    <a16:creationId xmlns:a16="http://schemas.microsoft.com/office/drawing/2014/main" id="{54DD437A-A7EE-45C3-9CA1-8A169386D7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6" name="Freeform 185">
                <a:extLst>
                  <a:ext uri="{FF2B5EF4-FFF2-40B4-BE49-F238E27FC236}">
                    <a16:creationId xmlns:a16="http://schemas.microsoft.com/office/drawing/2014/main" id="{FE55655A-0911-461C-BB3D-D807D6426B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7" name="Freeform 186">
                <a:extLst>
                  <a:ext uri="{FF2B5EF4-FFF2-40B4-BE49-F238E27FC236}">
                    <a16:creationId xmlns:a16="http://schemas.microsoft.com/office/drawing/2014/main" id="{18D44786-54D2-4200-9E1F-E29E5DE7B2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8" name="Freeform 187">
                <a:extLst>
                  <a:ext uri="{FF2B5EF4-FFF2-40B4-BE49-F238E27FC236}">
                    <a16:creationId xmlns:a16="http://schemas.microsoft.com/office/drawing/2014/main" id="{41B03C33-C25E-499D-9879-853FCBA49F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9" name="Freeform 157">
                <a:extLst>
                  <a:ext uri="{FF2B5EF4-FFF2-40B4-BE49-F238E27FC236}">
                    <a16:creationId xmlns:a16="http://schemas.microsoft.com/office/drawing/2014/main" id="{847060E1-200F-4DBC-A669-80748C22BC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0" name="Freeform 158">
                <a:extLst>
                  <a:ext uri="{FF2B5EF4-FFF2-40B4-BE49-F238E27FC236}">
                    <a16:creationId xmlns:a16="http://schemas.microsoft.com/office/drawing/2014/main" id="{EC400DF1-568A-450E-8702-B0BE3140326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1" name="Freeform 161">
                <a:extLst>
                  <a:ext uri="{FF2B5EF4-FFF2-40B4-BE49-F238E27FC236}">
                    <a16:creationId xmlns:a16="http://schemas.microsoft.com/office/drawing/2014/main" id="{0123C69A-F895-4BB1-A3B8-6770B77B52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2" name="Freeform 162">
                <a:extLst>
                  <a:ext uri="{FF2B5EF4-FFF2-40B4-BE49-F238E27FC236}">
                    <a16:creationId xmlns:a16="http://schemas.microsoft.com/office/drawing/2014/main" id="{1CA4F8F8-AD8D-431F-AD51-F52DD87CBE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3" name="Freeform 163">
                <a:extLst>
                  <a:ext uri="{FF2B5EF4-FFF2-40B4-BE49-F238E27FC236}">
                    <a16:creationId xmlns:a16="http://schemas.microsoft.com/office/drawing/2014/main" id="{B0F26CB6-8DD4-42BD-B82C-33C31316F0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4" name="Freeform 164">
                <a:extLst>
                  <a:ext uri="{FF2B5EF4-FFF2-40B4-BE49-F238E27FC236}">
                    <a16:creationId xmlns:a16="http://schemas.microsoft.com/office/drawing/2014/main" id="{3590902D-183B-459A-A3C6-1102E7A381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5" name="Freeform 165">
                <a:extLst>
                  <a:ext uri="{FF2B5EF4-FFF2-40B4-BE49-F238E27FC236}">
                    <a16:creationId xmlns:a16="http://schemas.microsoft.com/office/drawing/2014/main" id="{313FF351-F6D3-490E-ADB5-5B966986F2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6" name="Freeform 166">
                <a:extLst>
                  <a:ext uri="{FF2B5EF4-FFF2-40B4-BE49-F238E27FC236}">
                    <a16:creationId xmlns:a16="http://schemas.microsoft.com/office/drawing/2014/main" id="{49B25981-F2A3-4221-9B1D-9246332B06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7" name="Freeform 167">
                <a:extLst>
                  <a:ext uri="{FF2B5EF4-FFF2-40B4-BE49-F238E27FC236}">
                    <a16:creationId xmlns:a16="http://schemas.microsoft.com/office/drawing/2014/main" id="{024FEEBE-C155-4452-BD20-9050D196FB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8" name="Freeform 168">
                <a:extLst>
                  <a:ext uri="{FF2B5EF4-FFF2-40B4-BE49-F238E27FC236}">
                    <a16:creationId xmlns:a16="http://schemas.microsoft.com/office/drawing/2014/main" id="{46085F4D-1E89-4ADC-9695-0159CEDAB7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9" name="Freeform 169">
                <a:extLst>
                  <a:ext uri="{FF2B5EF4-FFF2-40B4-BE49-F238E27FC236}">
                    <a16:creationId xmlns:a16="http://schemas.microsoft.com/office/drawing/2014/main" id="{E8290CF9-B81B-463F-9B2F-87CC1BC69B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0" name="Freeform 170">
                <a:extLst>
                  <a:ext uri="{FF2B5EF4-FFF2-40B4-BE49-F238E27FC236}">
                    <a16:creationId xmlns:a16="http://schemas.microsoft.com/office/drawing/2014/main" id="{904D7E12-A973-4CF5-A230-61081001C2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1" name="Freeform 171">
                <a:extLst>
                  <a:ext uri="{FF2B5EF4-FFF2-40B4-BE49-F238E27FC236}">
                    <a16:creationId xmlns:a16="http://schemas.microsoft.com/office/drawing/2014/main" id="{F090E6E1-8A9D-432B-9680-94C2A2EC76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2" name="Freeform 172">
                <a:extLst>
                  <a:ext uri="{FF2B5EF4-FFF2-40B4-BE49-F238E27FC236}">
                    <a16:creationId xmlns:a16="http://schemas.microsoft.com/office/drawing/2014/main" id="{FCEB3B5C-6B35-4BB3-8C26-76F3DCA5B1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3" name="Freeform 173">
                <a:extLst>
                  <a:ext uri="{FF2B5EF4-FFF2-40B4-BE49-F238E27FC236}">
                    <a16:creationId xmlns:a16="http://schemas.microsoft.com/office/drawing/2014/main" id="{C46AA92C-46C9-4AF5-B7C5-5F3F4FF627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4" name="Freeform 174">
                <a:extLst>
                  <a:ext uri="{FF2B5EF4-FFF2-40B4-BE49-F238E27FC236}">
                    <a16:creationId xmlns:a16="http://schemas.microsoft.com/office/drawing/2014/main" id="{F15A783D-FBF6-40B5-96FE-8B73B0F7BC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5" name="Freeform 175">
                <a:extLst>
                  <a:ext uri="{FF2B5EF4-FFF2-40B4-BE49-F238E27FC236}">
                    <a16:creationId xmlns:a16="http://schemas.microsoft.com/office/drawing/2014/main" id="{14B10744-2947-4A0E-8BA3-F9D7EF2A24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6" name="Freeform 176">
                <a:extLst>
                  <a:ext uri="{FF2B5EF4-FFF2-40B4-BE49-F238E27FC236}">
                    <a16:creationId xmlns:a16="http://schemas.microsoft.com/office/drawing/2014/main" id="{CE31BC6D-2CBE-49C2-9D3D-6C795675FC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7" name="Freeform 177">
                <a:extLst>
                  <a:ext uri="{FF2B5EF4-FFF2-40B4-BE49-F238E27FC236}">
                    <a16:creationId xmlns:a16="http://schemas.microsoft.com/office/drawing/2014/main" id="{990EBBF2-82D5-4903-8381-7ABFC93CBB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8" name="Freeform 178">
                <a:extLst>
                  <a:ext uri="{FF2B5EF4-FFF2-40B4-BE49-F238E27FC236}">
                    <a16:creationId xmlns:a16="http://schemas.microsoft.com/office/drawing/2014/main" id="{A2AF02E7-2F28-428C-86FA-9CFC9C4456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9" name="Freeform 188">
                <a:extLst>
                  <a:ext uri="{FF2B5EF4-FFF2-40B4-BE49-F238E27FC236}">
                    <a16:creationId xmlns:a16="http://schemas.microsoft.com/office/drawing/2014/main" id="{F073E166-ADA5-4041-9D76-8D55442689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0" name="Freeform 103">
                <a:extLst>
                  <a:ext uri="{FF2B5EF4-FFF2-40B4-BE49-F238E27FC236}">
                    <a16:creationId xmlns:a16="http://schemas.microsoft.com/office/drawing/2014/main" id="{E79915B7-C86E-4401-AE33-5AFF90F63D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1" name="Freeform 104">
                <a:extLst>
                  <a:ext uri="{FF2B5EF4-FFF2-40B4-BE49-F238E27FC236}">
                    <a16:creationId xmlns:a16="http://schemas.microsoft.com/office/drawing/2014/main" id="{093E8246-B613-4B0E-86E6-66BE6B8A06B0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grpSp>
        <p:nvGrpSpPr>
          <p:cNvPr id="748" name="Groupe 747">
            <a:extLst>
              <a:ext uri="{FF2B5EF4-FFF2-40B4-BE49-F238E27FC236}">
                <a16:creationId xmlns:a16="http://schemas.microsoft.com/office/drawing/2014/main" id="{C1A02944-BC08-4660-B817-00382E30D619}"/>
              </a:ext>
            </a:extLst>
          </p:cNvPr>
          <p:cNvGrpSpPr/>
          <p:nvPr/>
        </p:nvGrpSpPr>
        <p:grpSpPr>
          <a:xfrm>
            <a:off x="32748138" y="23579642"/>
            <a:ext cx="2969546" cy="2497137"/>
            <a:chOff x="29190924" y="17133888"/>
            <a:chExt cx="2969546" cy="2497137"/>
          </a:xfrm>
        </p:grpSpPr>
        <p:sp>
          <p:nvSpPr>
            <p:cNvPr id="749" name="Ellipse 748">
              <a:extLst>
                <a:ext uri="{FF2B5EF4-FFF2-40B4-BE49-F238E27FC236}">
                  <a16:creationId xmlns:a16="http://schemas.microsoft.com/office/drawing/2014/main" id="{3C58E52E-D5AC-4A75-9CAB-5C31463982DA}"/>
                </a:ext>
              </a:extLst>
            </p:cNvPr>
            <p:cNvSpPr/>
            <p:nvPr/>
          </p:nvSpPr>
          <p:spPr bwMode="auto">
            <a:xfrm>
              <a:off x="29190924" y="17565766"/>
              <a:ext cx="2969546" cy="2065259"/>
            </a:xfrm>
            <a:prstGeom prst="ellipse">
              <a:avLst/>
            </a:prstGeom>
            <a:solidFill>
              <a:srgbClr val="00B0F0"/>
            </a:solidFill>
            <a:ln w="76200">
              <a:noFill/>
              <a:round/>
              <a:headEnd/>
              <a:tailEnd/>
            </a:ln>
            <a:effectLst>
              <a:outerShdw blurRad="419100" dist="38100" dir="5400000" sx="107000" sy="107000" algn="t" rotWithShape="0">
                <a:prstClr val="black">
                  <a:alpha val="34000"/>
                </a:prstClr>
              </a:outerShdw>
            </a:effectLst>
            <a:scene3d>
              <a:camera prst="perspectiveRelaxedModerately">
                <a:rot lat="17390630" lon="0" rev="0"/>
              </a:camera>
              <a:lightRig rig="threePt" dir="t"/>
            </a:scene3d>
            <a:sp3d extrusionH="190500" prstMaterial="matte"/>
          </p:spPr>
          <p:txBody>
            <a:bodyPr lIns="0" tIns="0" rIns="0" bIns="0" anchor="ctr"/>
            <a:lstStyle/>
            <a:p>
              <a:pPr algn="ctr" defTabSz="914378" eaLnBrk="1" fontAlgn="auto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4000" b="1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750" name="_effect" descr="C:\Users\marc.h\Desktop\Schatten-TEST.png">
              <a:extLst>
                <a:ext uri="{FF2B5EF4-FFF2-40B4-BE49-F238E27FC236}">
                  <a16:creationId xmlns:a16="http://schemas.microsoft.com/office/drawing/2014/main" id="{5422A0AC-6DEC-4E96-B597-8F726AB4800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 flipH="1">
              <a:off x="29671964" y="18521364"/>
              <a:ext cx="2006602" cy="295277"/>
            </a:xfrm>
            <a:prstGeom prst="rect">
              <a:avLst/>
            </a:prstGeom>
            <a:solidFill>
              <a:srgbClr val="00B0F0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grpSp>
          <p:nvGrpSpPr>
            <p:cNvPr id="751" name="Gruppieren 96">
              <a:extLst>
                <a:ext uri="{FF2B5EF4-FFF2-40B4-BE49-F238E27FC236}">
                  <a16:creationId xmlns:a16="http://schemas.microsoft.com/office/drawing/2014/main" id="{00109584-2CC7-4FAC-A358-F7FCD3461D94}"/>
                </a:ext>
              </a:extLst>
            </p:cNvPr>
            <p:cNvGrpSpPr/>
            <p:nvPr/>
          </p:nvGrpSpPr>
          <p:grpSpPr bwMode="auto">
            <a:xfrm>
              <a:off x="29643239" y="17193892"/>
              <a:ext cx="725032" cy="1464625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790" name="Freeform 156">
                <a:extLst>
                  <a:ext uri="{FF2B5EF4-FFF2-40B4-BE49-F238E27FC236}">
                    <a16:creationId xmlns:a16="http://schemas.microsoft.com/office/drawing/2014/main" id="{6B8B1517-2E64-4424-B908-D3514EA810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91" name="Freeform 159">
                <a:extLst>
                  <a:ext uri="{FF2B5EF4-FFF2-40B4-BE49-F238E27FC236}">
                    <a16:creationId xmlns:a16="http://schemas.microsoft.com/office/drawing/2014/main" id="{91BC20AB-486C-4933-8BC4-585404360F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92" name="Freeform 160">
                <a:extLst>
                  <a:ext uri="{FF2B5EF4-FFF2-40B4-BE49-F238E27FC236}">
                    <a16:creationId xmlns:a16="http://schemas.microsoft.com/office/drawing/2014/main" id="{C8B2A79E-7C45-4710-861A-D22A2F4D15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93" name="Freeform 179">
                <a:extLst>
                  <a:ext uri="{FF2B5EF4-FFF2-40B4-BE49-F238E27FC236}">
                    <a16:creationId xmlns:a16="http://schemas.microsoft.com/office/drawing/2014/main" id="{BD7685CE-847D-4023-9C0D-22B94EEA16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94" name="Freeform 180">
                <a:extLst>
                  <a:ext uri="{FF2B5EF4-FFF2-40B4-BE49-F238E27FC236}">
                    <a16:creationId xmlns:a16="http://schemas.microsoft.com/office/drawing/2014/main" id="{47F66460-932C-45CB-B394-65030DCA98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95" name="Freeform 181">
                <a:extLst>
                  <a:ext uri="{FF2B5EF4-FFF2-40B4-BE49-F238E27FC236}">
                    <a16:creationId xmlns:a16="http://schemas.microsoft.com/office/drawing/2014/main" id="{34C9467C-BE57-4C59-833B-C859CC8CBD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96" name="Freeform 182">
                <a:extLst>
                  <a:ext uri="{FF2B5EF4-FFF2-40B4-BE49-F238E27FC236}">
                    <a16:creationId xmlns:a16="http://schemas.microsoft.com/office/drawing/2014/main" id="{13F58680-D3C1-4F7D-80B5-C28A5C7CEF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97" name="Freeform 183">
                <a:extLst>
                  <a:ext uri="{FF2B5EF4-FFF2-40B4-BE49-F238E27FC236}">
                    <a16:creationId xmlns:a16="http://schemas.microsoft.com/office/drawing/2014/main" id="{46C124FE-528A-488B-A46F-9BD7104E44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98" name="Freeform 184">
                <a:extLst>
                  <a:ext uri="{FF2B5EF4-FFF2-40B4-BE49-F238E27FC236}">
                    <a16:creationId xmlns:a16="http://schemas.microsoft.com/office/drawing/2014/main" id="{2804CD48-F54F-4B89-AE67-2DEAEBD6CE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99" name="Freeform 185">
                <a:extLst>
                  <a:ext uri="{FF2B5EF4-FFF2-40B4-BE49-F238E27FC236}">
                    <a16:creationId xmlns:a16="http://schemas.microsoft.com/office/drawing/2014/main" id="{FA36517F-4832-4814-BD0E-16AC0A02C5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00" name="Freeform 186">
                <a:extLst>
                  <a:ext uri="{FF2B5EF4-FFF2-40B4-BE49-F238E27FC236}">
                    <a16:creationId xmlns:a16="http://schemas.microsoft.com/office/drawing/2014/main" id="{FC0E4730-3888-474E-A113-605B938E1B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01" name="Freeform 187">
                <a:extLst>
                  <a:ext uri="{FF2B5EF4-FFF2-40B4-BE49-F238E27FC236}">
                    <a16:creationId xmlns:a16="http://schemas.microsoft.com/office/drawing/2014/main" id="{25E679A0-577C-4B95-A819-A2BD5EE0AE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02" name="Freeform 157">
                <a:extLst>
                  <a:ext uri="{FF2B5EF4-FFF2-40B4-BE49-F238E27FC236}">
                    <a16:creationId xmlns:a16="http://schemas.microsoft.com/office/drawing/2014/main" id="{B7982264-D774-4426-BC48-3E435804C5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03" name="Freeform 158">
                <a:extLst>
                  <a:ext uri="{FF2B5EF4-FFF2-40B4-BE49-F238E27FC236}">
                    <a16:creationId xmlns:a16="http://schemas.microsoft.com/office/drawing/2014/main" id="{6A1A9BC5-226D-461F-891A-E03F3ED3240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04" name="Freeform 161">
                <a:extLst>
                  <a:ext uri="{FF2B5EF4-FFF2-40B4-BE49-F238E27FC236}">
                    <a16:creationId xmlns:a16="http://schemas.microsoft.com/office/drawing/2014/main" id="{33287572-776C-427A-AAD0-D040ED63AE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05" name="Freeform 162">
                <a:extLst>
                  <a:ext uri="{FF2B5EF4-FFF2-40B4-BE49-F238E27FC236}">
                    <a16:creationId xmlns:a16="http://schemas.microsoft.com/office/drawing/2014/main" id="{F392FA2F-CB73-4CE7-B84D-650DCBAE2A2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06" name="Freeform 163">
                <a:extLst>
                  <a:ext uri="{FF2B5EF4-FFF2-40B4-BE49-F238E27FC236}">
                    <a16:creationId xmlns:a16="http://schemas.microsoft.com/office/drawing/2014/main" id="{609ACA24-D79B-4B40-99F4-952182CD90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07" name="Freeform 164">
                <a:extLst>
                  <a:ext uri="{FF2B5EF4-FFF2-40B4-BE49-F238E27FC236}">
                    <a16:creationId xmlns:a16="http://schemas.microsoft.com/office/drawing/2014/main" id="{68D76D60-0D1D-4BEF-A9E3-B385EB7841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08" name="Freeform 165">
                <a:extLst>
                  <a:ext uri="{FF2B5EF4-FFF2-40B4-BE49-F238E27FC236}">
                    <a16:creationId xmlns:a16="http://schemas.microsoft.com/office/drawing/2014/main" id="{CF07C8AE-F64D-4D05-98A0-8D31D0F330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09" name="Freeform 166">
                <a:extLst>
                  <a:ext uri="{FF2B5EF4-FFF2-40B4-BE49-F238E27FC236}">
                    <a16:creationId xmlns:a16="http://schemas.microsoft.com/office/drawing/2014/main" id="{CE127A98-71CC-446F-952B-F5DA92954E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10" name="Freeform 167">
                <a:extLst>
                  <a:ext uri="{FF2B5EF4-FFF2-40B4-BE49-F238E27FC236}">
                    <a16:creationId xmlns:a16="http://schemas.microsoft.com/office/drawing/2014/main" id="{337E1B5E-8D51-4470-9F54-86FB284B1B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11" name="Freeform 168">
                <a:extLst>
                  <a:ext uri="{FF2B5EF4-FFF2-40B4-BE49-F238E27FC236}">
                    <a16:creationId xmlns:a16="http://schemas.microsoft.com/office/drawing/2014/main" id="{68664F6C-DD70-479D-9A3C-95F4EDE805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13" name="Freeform 169">
                <a:extLst>
                  <a:ext uri="{FF2B5EF4-FFF2-40B4-BE49-F238E27FC236}">
                    <a16:creationId xmlns:a16="http://schemas.microsoft.com/office/drawing/2014/main" id="{2409010E-6BD4-4093-99D0-B90DE145F1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14" name="Freeform 170">
                <a:extLst>
                  <a:ext uri="{FF2B5EF4-FFF2-40B4-BE49-F238E27FC236}">
                    <a16:creationId xmlns:a16="http://schemas.microsoft.com/office/drawing/2014/main" id="{596808CF-F31E-4BF6-ADD8-9CAC02F854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15" name="Freeform 171">
                <a:extLst>
                  <a:ext uri="{FF2B5EF4-FFF2-40B4-BE49-F238E27FC236}">
                    <a16:creationId xmlns:a16="http://schemas.microsoft.com/office/drawing/2014/main" id="{737CC6DB-CCC1-483C-86A0-1E2258CC42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16" name="Freeform 172">
                <a:extLst>
                  <a:ext uri="{FF2B5EF4-FFF2-40B4-BE49-F238E27FC236}">
                    <a16:creationId xmlns:a16="http://schemas.microsoft.com/office/drawing/2014/main" id="{F1E52F09-9390-4614-803B-DED355E8A6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17" name="Freeform 173">
                <a:extLst>
                  <a:ext uri="{FF2B5EF4-FFF2-40B4-BE49-F238E27FC236}">
                    <a16:creationId xmlns:a16="http://schemas.microsoft.com/office/drawing/2014/main" id="{551B1A94-F7E0-48DE-9C92-26EE560A4A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18" name="Freeform 174">
                <a:extLst>
                  <a:ext uri="{FF2B5EF4-FFF2-40B4-BE49-F238E27FC236}">
                    <a16:creationId xmlns:a16="http://schemas.microsoft.com/office/drawing/2014/main" id="{6CDCC091-08EC-4AC2-873E-F2E7A14342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20" name="Freeform 175">
                <a:extLst>
                  <a:ext uri="{FF2B5EF4-FFF2-40B4-BE49-F238E27FC236}">
                    <a16:creationId xmlns:a16="http://schemas.microsoft.com/office/drawing/2014/main" id="{6F0E1EED-9092-47A8-A89B-35BE2F6387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21" name="Freeform 176">
                <a:extLst>
                  <a:ext uri="{FF2B5EF4-FFF2-40B4-BE49-F238E27FC236}">
                    <a16:creationId xmlns:a16="http://schemas.microsoft.com/office/drawing/2014/main" id="{1305E486-1E45-4874-BABC-A2037BCC05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22" name="Freeform 177">
                <a:extLst>
                  <a:ext uri="{FF2B5EF4-FFF2-40B4-BE49-F238E27FC236}">
                    <a16:creationId xmlns:a16="http://schemas.microsoft.com/office/drawing/2014/main" id="{0808E62D-2FA8-4875-867C-3F1923BFFC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23" name="Freeform 178">
                <a:extLst>
                  <a:ext uri="{FF2B5EF4-FFF2-40B4-BE49-F238E27FC236}">
                    <a16:creationId xmlns:a16="http://schemas.microsoft.com/office/drawing/2014/main" id="{9E449CB9-FE39-4967-AFD7-80A7F467DE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24" name="Freeform 188">
                <a:extLst>
                  <a:ext uri="{FF2B5EF4-FFF2-40B4-BE49-F238E27FC236}">
                    <a16:creationId xmlns:a16="http://schemas.microsoft.com/office/drawing/2014/main" id="{CF25A6FC-CB8E-4429-A038-8C0036EC7B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25" name="Freeform 103">
                <a:extLst>
                  <a:ext uri="{FF2B5EF4-FFF2-40B4-BE49-F238E27FC236}">
                    <a16:creationId xmlns:a16="http://schemas.microsoft.com/office/drawing/2014/main" id="{190150DE-89B2-49C7-8255-47671D61FF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26" name="Freeform 104">
                <a:extLst>
                  <a:ext uri="{FF2B5EF4-FFF2-40B4-BE49-F238E27FC236}">
                    <a16:creationId xmlns:a16="http://schemas.microsoft.com/office/drawing/2014/main" id="{D287CDB1-98C5-4C03-85E5-8C2601826754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752" name="AutoShape 25">
              <a:extLst>
                <a:ext uri="{FF2B5EF4-FFF2-40B4-BE49-F238E27FC236}">
                  <a16:creationId xmlns:a16="http://schemas.microsoft.com/office/drawing/2014/main" id="{2690CE57-741A-4A16-A7FB-2F127E5D2234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86187" flipH="1">
              <a:off x="30110115" y="17206915"/>
              <a:ext cx="720727" cy="1458913"/>
            </a:xfrm>
            <a:custGeom>
              <a:avLst/>
              <a:gdLst>
                <a:gd name="T0" fmla="*/ 794460491 w 792"/>
                <a:gd name="T1" fmla="*/ 729941208 h 2536"/>
                <a:gd name="T2" fmla="*/ 794460491 w 792"/>
                <a:gd name="T3" fmla="*/ 729941208 h 2536"/>
                <a:gd name="T4" fmla="*/ 794460491 w 792"/>
                <a:gd name="T5" fmla="*/ 729941208 h 2536"/>
                <a:gd name="T6" fmla="*/ 794460491 w 792"/>
                <a:gd name="T7" fmla="*/ 729941208 h 2536"/>
                <a:gd name="T8" fmla="*/ 794460491 w 792"/>
                <a:gd name="T9" fmla="*/ 729941208 h 2536"/>
                <a:gd name="T10" fmla="*/ 794460491 w 792"/>
                <a:gd name="T11" fmla="*/ 729941208 h 2536"/>
                <a:gd name="T12" fmla="*/ 794460491 w 792"/>
                <a:gd name="T13" fmla="*/ 729941208 h 2536"/>
                <a:gd name="T14" fmla="*/ 794460491 w 792"/>
                <a:gd name="T15" fmla="*/ 729941208 h 2536"/>
                <a:gd name="T16" fmla="*/ 794460491 w 792"/>
                <a:gd name="T17" fmla="*/ 729941208 h 2536"/>
                <a:gd name="T18" fmla="*/ 794460491 w 792"/>
                <a:gd name="T19" fmla="*/ 729941208 h 2536"/>
                <a:gd name="T20" fmla="*/ 794460491 w 792"/>
                <a:gd name="T21" fmla="*/ 729941208 h 2536"/>
                <a:gd name="T22" fmla="*/ 794460491 w 792"/>
                <a:gd name="T23" fmla="*/ 729941208 h 2536"/>
                <a:gd name="T24" fmla="*/ 794460491 w 792"/>
                <a:gd name="T25" fmla="*/ 729941208 h 2536"/>
                <a:gd name="T26" fmla="*/ 794460491 w 792"/>
                <a:gd name="T27" fmla="*/ 729941208 h 2536"/>
                <a:gd name="T28" fmla="*/ 0 w 792"/>
                <a:gd name="T29" fmla="*/ 729941208 h 2536"/>
                <a:gd name="T30" fmla="*/ 794460491 w 792"/>
                <a:gd name="T31" fmla="*/ 729941208 h 2536"/>
                <a:gd name="T32" fmla="*/ 794460491 w 792"/>
                <a:gd name="T33" fmla="*/ 729941208 h 2536"/>
                <a:gd name="T34" fmla="*/ 794460491 w 792"/>
                <a:gd name="T35" fmla="*/ 729941208 h 2536"/>
                <a:gd name="T36" fmla="*/ 794460491 w 792"/>
                <a:gd name="T37" fmla="*/ 729941208 h 2536"/>
                <a:gd name="T38" fmla="*/ 794460491 w 792"/>
                <a:gd name="T39" fmla="*/ 729941208 h 2536"/>
                <a:gd name="T40" fmla="*/ 794460491 w 792"/>
                <a:gd name="T41" fmla="*/ 729941208 h 2536"/>
                <a:gd name="T42" fmla="*/ 794460491 w 792"/>
                <a:gd name="T43" fmla="*/ 729941208 h 2536"/>
                <a:gd name="T44" fmla="*/ 794460491 w 792"/>
                <a:gd name="T45" fmla="*/ 729941208 h 2536"/>
                <a:gd name="T46" fmla="*/ 794460491 w 792"/>
                <a:gd name="T47" fmla="*/ 729941208 h 2536"/>
                <a:gd name="T48" fmla="*/ 794460491 w 792"/>
                <a:gd name="T49" fmla="*/ 729941208 h 2536"/>
                <a:gd name="T50" fmla="*/ 794460491 w 792"/>
                <a:gd name="T51" fmla="*/ 729941208 h 2536"/>
                <a:gd name="T52" fmla="*/ 794460491 w 792"/>
                <a:gd name="T53" fmla="*/ 729941208 h 2536"/>
                <a:gd name="T54" fmla="*/ 794460491 w 792"/>
                <a:gd name="T55" fmla="*/ 729941208 h 2536"/>
                <a:gd name="T56" fmla="*/ 794460491 w 792"/>
                <a:gd name="T57" fmla="*/ 729941208 h 2536"/>
                <a:gd name="T58" fmla="*/ 794460491 w 792"/>
                <a:gd name="T59" fmla="*/ 729941208 h 2536"/>
                <a:gd name="T60" fmla="*/ 794460491 w 792"/>
                <a:gd name="T61" fmla="*/ 729941208 h 2536"/>
                <a:gd name="T62" fmla="*/ 794460491 w 792"/>
                <a:gd name="T63" fmla="*/ 729941208 h 2536"/>
                <a:gd name="T64" fmla="*/ 794460491 w 792"/>
                <a:gd name="T65" fmla="*/ 729941208 h 2536"/>
                <a:gd name="T66" fmla="*/ 794460491 w 792"/>
                <a:gd name="T67" fmla="*/ 729941208 h 2536"/>
                <a:gd name="T68" fmla="*/ 794460491 w 792"/>
                <a:gd name="T69" fmla="*/ 729941208 h 2536"/>
                <a:gd name="T70" fmla="*/ 794460491 w 792"/>
                <a:gd name="T71" fmla="*/ 729941208 h 2536"/>
                <a:gd name="T72" fmla="*/ 794460491 w 792"/>
                <a:gd name="T73" fmla="*/ 729941208 h 2536"/>
                <a:gd name="T74" fmla="*/ 794460491 w 792"/>
                <a:gd name="T75" fmla="*/ 729941208 h 2536"/>
                <a:gd name="T76" fmla="*/ 794460491 w 792"/>
                <a:gd name="T77" fmla="*/ 729941208 h 2536"/>
                <a:gd name="T78" fmla="*/ 794460491 w 792"/>
                <a:gd name="T79" fmla="*/ 729941208 h 2536"/>
                <a:gd name="T80" fmla="*/ 794460491 w 792"/>
                <a:gd name="T81" fmla="*/ 729941208 h 2536"/>
                <a:gd name="T82" fmla="*/ 794460491 w 792"/>
                <a:gd name="T83" fmla="*/ 729941208 h 2536"/>
                <a:gd name="T84" fmla="*/ 794460491 w 792"/>
                <a:gd name="T85" fmla="*/ 729941208 h 2536"/>
                <a:gd name="T86" fmla="*/ 794460491 w 792"/>
                <a:gd name="T87" fmla="*/ 729941208 h 2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92"/>
                <a:gd name="T133" fmla="*/ 0 h 2536"/>
                <a:gd name="T134" fmla="*/ 792 w 792"/>
                <a:gd name="T135" fmla="*/ 2536 h 2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92" h="2536">
                  <a:moveTo>
                    <a:pt x="752" y="900"/>
                  </a:moveTo>
                  <a:cubicBezTo>
                    <a:pt x="752" y="888"/>
                    <a:pt x="744" y="880"/>
                    <a:pt x="740" y="872"/>
                  </a:cubicBezTo>
                  <a:cubicBezTo>
                    <a:pt x="720" y="760"/>
                    <a:pt x="736" y="656"/>
                    <a:pt x="724" y="548"/>
                  </a:cubicBezTo>
                  <a:cubicBezTo>
                    <a:pt x="724" y="524"/>
                    <a:pt x="724" y="500"/>
                    <a:pt x="716" y="480"/>
                  </a:cubicBezTo>
                  <a:cubicBezTo>
                    <a:pt x="712" y="472"/>
                    <a:pt x="704" y="464"/>
                    <a:pt x="696" y="456"/>
                  </a:cubicBezTo>
                  <a:cubicBezTo>
                    <a:pt x="688" y="452"/>
                    <a:pt x="668" y="452"/>
                    <a:pt x="672" y="444"/>
                  </a:cubicBezTo>
                  <a:cubicBezTo>
                    <a:pt x="688" y="332"/>
                    <a:pt x="664" y="224"/>
                    <a:pt x="656" y="116"/>
                  </a:cubicBezTo>
                  <a:cubicBezTo>
                    <a:pt x="652" y="56"/>
                    <a:pt x="600" y="0"/>
                    <a:pt x="532" y="8"/>
                  </a:cubicBezTo>
                  <a:cubicBezTo>
                    <a:pt x="512" y="12"/>
                    <a:pt x="492" y="16"/>
                    <a:pt x="472" y="32"/>
                  </a:cubicBezTo>
                  <a:cubicBezTo>
                    <a:pt x="440" y="60"/>
                    <a:pt x="416" y="88"/>
                    <a:pt x="400" y="124"/>
                  </a:cubicBezTo>
                  <a:cubicBezTo>
                    <a:pt x="392" y="148"/>
                    <a:pt x="380" y="164"/>
                    <a:pt x="372" y="188"/>
                  </a:cubicBezTo>
                  <a:cubicBezTo>
                    <a:pt x="364" y="212"/>
                    <a:pt x="364" y="232"/>
                    <a:pt x="360" y="256"/>
                  </a:cubicBezTo>
                  <a:cubicBezTo>
                    <a:pt x="356" y="272"/>
                    <a:pt x="364" y="284"/>
                    <a:pt x="364" y="296"/>
                  </a:cubicBezTo>
                  <a:cubicBezTo>
                    <a:pt x="364" y="352"/>
                    <a:pt x="308" y="388"/>
                    <a:pt x="264" y="416"/>
                  </a:cubicBezTo>
                  <a:cubicBezTo>
                    <a:pt x="240" y="432"/>
                    <a:pt x="204" y="428"/>
                    <a:pt x="184" y="452"/>
                  </a:cubicBezTo>
                  <a:cubicBezTo>
                    <a:pt x="144" y="496"/>
                    <a:pt x="160" y="556"/>
                    <a:pt x="144" y="608"/>
                  </a:cubicBezTo>
                  <a:cubicBezTo>
                    <a:pt x="144" y="612"/>
                    <a:pt x="156" y="616"/>
                    <a:pt x="152" y="628"/>
                  </a:cubicBezTo>
                  <a:cubicBezTo>
                    <a:pt x="148" y="696"/>
                    <a:pt x="156" y="764"/>
                    <a:pt x="140" y="832"/>
                  </a:cubicBezTo>
                  <a:cubicBezTo>
                    <a:pt x="128" y="876"/>
                    <a:pt x="120" y="916"/>
                    <a:pt x="116" y="960"/>
                  </a:cubicBezTo>
                  <a:cubicBezTo>
                    <a:pt x="112" y="1024"/>
                    <a:pt x="116" y="1088"/>
                    <a:pt x="116" y="1152"/>
                  </a:cubicBezTo>
                  <a:cubicBezTo>
                    <a:pt x="116" y="1212"/>
                    <a:pt x="108" y="1272"/>
                    <a:pt x="96" y="1336"/>
                  </a:cubicBezTo>
                  <a:cubicBezTo>
                    <a:pt x="92" y="1360"/>
                    <a:pt x="104" y="1384"/>
                    <a:pt x="120" y="1404"/>
                  </a:cubicBezTo>
                  <a:cubicBezTo>
                    <a:pt x="136" y="1424"/>
                    <a:pt x="164" y="1432"/>
                    <a:pt x="188" y="1436"/>
                  </a:cubicBezTo>
                  <a:cubicBezTo>
                    <a:pt x="192" y="1436"/>
                    <a:pt x="196" y="1440"/>
                    <a:pt x="196" y="1444"/>
                  </a:cubicBezTo>
                  <a:cubicBezTo>
                    <a:pt x="192" y="1540"/>
                    <a:pt x="192" y="1636"/>
                    <a:pt x="180" y="1736"/>
                  </a:cubicBezTo>
                  <a:cubicBezTo>
                    <a:pt x="180" y="1744"/>
                    <a:pt x="188" y="1748"/>
                    <a:pt x="188" y="1752"/>
                  </a:cubicBezTo>
                  <a:cubicBezTo>
                    <a:pt x="188" y="1820"/>
                    <a:pt x="152" y="1884"/>
                    <a:pt x="148" y="1956"/>
                  </a:cubicBezTo>
                  <a:cubicBezTo>
                    <a:pt x="144" y="2056"/>
                    <a:pt x="156" y="2152"/>
                    <a:pt x="148" y="2252"/>
                  </a:cubicBezTo>
                  <a:cubicBezTo>
                    <a:pt x="148" y="2316"/>
                    <a:pt x="120" y="2376"/>
                    <a:pt x="88" y="2432"/>
                  </a:cubicBezTo>
                  <a:cubicBezTo>
                    <a:pt x="64" y="2468"/>
                    <a:pt x="24" y="2484"/>
                    <a:pt x="0" y="2516"/>
                  </a:cubicBezTo>
                  <a:cubicBezTo>
                    <a:pt x="52" y="2512"/>
                    <a:pt x="104" y="2516"/>
                    <a:pt x="152" y="2492"/>
                  </a:cubicBezTo>
                  <a:cubicBezTo>
                    <a:pt x="148" y="2460"/>
                    <a:pt x="180" y="2424"/>
                    <a:pt x="208" y="2424"/>
                  </a:cubicBezTo>
                  <a:cubicBezTo>
                    <a:pt x="224" y="2428"/>
                    <a:pt x="204" y="2460"/>
                    <a:pt x="220" y="2476"/>
                  </a:cubicBezTo>
                  <a:cubicBezTo>
                    <a:pt x="220" y="2448"/>
                    <a:pt x="224" y="2420"/>
                    <a:pt x="244" y="2396"/>
                  </a:cubicBezTo>
                  <a:cubicBezTo>
                    <a:pt x="268" y="2372"/>
                    <a:pt x="248" y="2336"/>
                    <a:pt x="224" y="2312"/>
                  </a:cubicBezTo>
                  <a:cubicBezTo>
                    <a:pt x="224" y="2308"/>
                    <a:pt x="221" y="2300"/>
                    <a:pt x="220" y="2292"/>
                  </a:cubicBezTo>
                  <a:cubicBezTo>
                    <a:pt x="216" y="2244"/>
                    <a:pt x="224" y="2196"/>
                    <a:pt x="236" y="2144"/>
                  </a:cubicBezTo>
                  <a:cubicBezTo>
                    <a:pt x="244" y="2084"/>
                    <a:pt x="264" y="2032"/>
                    <a:pt x="280" y="1972"/>
                  </a:cubicBezTo>
                  <a:cubicBezTo>
                    <a:pt x="296" y="1916"/>
                    <a:pt x="284" y="1856"/>
                    <a:pt x="304" y="1800"/>
                  </a:cubicBezTo>
                  <a:cubicBezTo>
                    <a:pt x="308" y="1784"/>
                    <a:pt x="312" y="1760"/>
                    <a:pt x="328" y="1752"/>
                  </a:cubicBezTo>
                  <a:cubicBezTo>
                    <a:pt x="352" y="1740"/>
                    <a:pt x="380" y="1740"/>
                    <a:pt x="404" y="1744"/>
                  </a:cubicBezTo>
                  <a:cubicBezTo>
                    <a:pt x="432" y="1744"/>
                    <a:pt x="460" y="1748"/>
                    <a:pt x="488" y="1752"/>
                  </a:cubicBezTo>
                  <a:cubicBezTo>
                    <a:pt x="500" y="1756"/>
                    <a:pt x="504" y="1768"/>
                    <a:pt x="508" y="1780"/>
                  </a:cubicBezTo>
                  <a:cubicBezTo>
                    <a:pt x="512" y="1840"/>
                    <a:pt x="496" y="1896"/>
                    <a:pt x="488" y="1956"/>
                  </a:cubicBezTo>
                  <a:cubicBezTo>
                    <a:pt x="484" y="2024"/>
                    <a:pt x="496" y="2092"/>
                    <a:pt x="480" y="2164"/>
                  </a:cubicBezTo>
                  <a:cubicBezTo>
                    <a:pt x="476" y="2192"/>
                    <a:pt x="476" y="2220"/>
                    <a:pt x="468" y="2248"/>
                  </a:cubicBezTo>
                  <a:cubicBezTo>
                    <a:pt x="460" y="2272"/>
                    <a:pt x="448" y="2292"/>
                    <a:pt x="444" y="2320"/>
                  </a:cubicBezTo>
                  <a:cubicBezTo>
                    <a:pt x="440" y="2328"/>
                    <a:pt x="428" y="2328"/>
                    <a:pt x="428" y="2340"/>
                  </a:cubicBezTo>
                  <a:cubicBezTo>
                    <a:pt x="424" y="2352"/>
                    <a:pt x="420" y="2364"/>
                    <a:pt x="420" y="2376"/>
                  </a:cubicBezTo>
                  <a:cubicBezTo>
                    <a:pt x="424" y="2392"/>
                    <a:pt x="440" y="2404"/>
                    <a:pt x="444" y="2416"/>
                  </a:cubicBezTo>
                  <a:cubicBezTo>
                    <a:pt x="452" y="2432"/>
                    <a:pt x="452" y="2452"/>
                    <a:pt x="448" y="2468"/>
                  </a:cubicBezTo>
                  <a:cubicBezTo>
                    <a:pt x="444" y="2476"/>
                    <a:pt x="436" y="2488"/>
                    <a:pt x="444" y="2496"/>
                  </a:cubicBezTo>
                  <a:cubicBezTo>
                    <a:pt x="480" y="2524"/>
                    <a:pt x="564" y="2536"/>
                    <a:pt x="552" y="2472"/>
                  </a:cubicBezTo>
                  <a:cubicBezTo>
                    <a:pt x="540" y="2432"/>
                    <a:pt x="512" y="2392"/>
                    <a:pt x="516" y="2348"/>
                  </a:cubicBezTo>
                  <a:cubicBezTo>
                    <a:pt x="516" y="2312"/>
                    <a:pt x="520" y="2276"/>
                    <a:pt x="532" y="2240"/>
                  </a:cubicBezTo>
                  <a:cubicBezTo>
                    <a:pt x="596" y="2088"/>
                    <a:pt x="640" y="1932"/>
                    <a:pt x="624" y="1768"/>
                  </a:cubicBezTo>
                  <a:cubicBezTo>
                    <a:pt x="652" y="1744"/>
                    <a:pt x="696" y="1748"/>
                    <a:pt x="732" y="1748"/>
                  </a:cubicBezTo>
                  <a:cubicBezTo>
                    <a:pt x="736" y="1640"/>
                    <a:pt x="708" y="1536"/>
                    <a:pt x="724" y="1428"/>
                  </a:cubicBezTo>
                  <a:cubicBezTo>
                    <a:pt x="728" y="1408"/>
                    <a:pt x="756" y="1416"/>
                    <a:pt x="768" y="1404"/>
                  </a:cubicBezTo>
                  <a:cubicBezTo>
                    <a:pt x="784" y="1392"/>
                    <a:pt x="792" y="1368"/>
                    <a:pt x="792" y="1356"/>
                  </a:cubicBezTo>
                  <a:cubicBezTo>
                    <a:pt x="740" y="1204"/>
                    <a:pt x="784" y="1060"/>
                    <a:pt x="752" y="900"/>
                  </a:cubicBezTo>
                  <a:close/>
                  <a:moveTo>
                    <a:pt x="208" y="1272"/>
                  </a:moveTo>
                  <a:cubicBezTo>
                    <a:pt x="200" y="1316"/>
                    <a:pt x="200" y="1364"/>
                    <a:pt x="200" y="1408"/>
                  </a:cubicBezTo>
                  <a:cubicBezTo>
                    <a:pt x="200" y="1416"/>
                    <a:pt x="204" y="1432"/>
                    <a:pt x="192" y="1428"/>
                  </a:cubicBezTo>
                  <a:cubicBezTo>
                    <a:pt x="176" y="1428"/>
                    <a:pt x="172" y="1420"/>
                    <a:pt x="160" y="1408"/>
                  </a:cubicBezTo>
                  <a:cubicBezTo>
                    <a:pt x="160" y="1404"/>
                    <a:pt x="160" y="1400"/>
                    <a:pt x="160" y="1396"/>
                  </a:cubicBezTo>
                  <a:cubicBezTo>
                    <a:pt x="148" y="1400"/>
                    <a:pt x="140" y="1388"/>
                    <a:pt x="136" y="1376"/>
                  </a:cubicBezTo>
                  <a:cubicBezTo>
                    <a:pt x="128" y="1356"/>
                    <a:pt x="132" y="1324"/>
                    <a:pt x="148" y="1324"/>
                  </a:cubicBezTo>
                  <a:cubicBezTo>
                    <a:pt x="172" y="1320"/>
                    <a:pt x="164" y="1364"/>
                    <a:pt x="172" y="1384"/>
                  </a:cubicBezTo>
                  <a:cubicBezTo>
                    <a:pt x="176" y="1388"/>
                    <a:pt x="180" y="1388"/>
                    <a:pt x="184" y="1388"/>
                  </a:cubicBezTo>
                  <a:cubicBezTo>
                    <a:pt x="180" y="1352"/>
                    <a:pt x="184" y="1312"/>
                    <a:pt x="176" y="1276"/>
                  </a:cubicBezTo>
                  <a:cubicBezTo>
                    <a:pt x="172" y="1252"/>
                    <a:pt x="152" y="1236"/>
                    <a:pt x="156" y="1208"/>
                  </a:cubicBezTo>
                  <a:cubicBezTo>
                    <a:pt x="180" y="1060"/>
                    <a:pt x="224" y="928"/>
                    <a:pt x="232" y="780"/>
                  </a:cubicBezTo>
                  <a:cubicBezTo>
                    <a:pt x="232" y="756"/>
                    <a:pt x="224" y="724"/>
                    <a:pt x="248" y="712"/>
                  </a:cubicBezTo>
                  <a:cubicBezTo>
                    <a:pt x="264" y="704"/>
                    <a:pt x="257" y="732"/>
                    <a:pt x="260" y="744"/>
                  </a:cubicBezTo>
                  <a:cubicBezTo>
                    <a:pt x="304" y="928"/>
                    <a:pt x="224" y="1092"/>
                    <a:pt x="208" y="1272"/>
                  </a:cubicBezTo>
                  <a:close/>
                  <a:moveTo>
                    <a:pt x="656" y="876"/>
                  </a:moveTo>
                  <a:cubicBezTo>
                    <a:pt x="656" y="888"/>
                    <a:pt x="641" y="882"/>
                    <a:pt x="632" y="876"/>
                  </a:cubicBezTo>
                  <a:cubicBezTo>
                    <a:pt x="620" y="868"/>
                    <a:pt x="620" y="852"/>
                    <a:pt x="624" y="844"/>
                  </a:cubicBezTo>
                  <a:cubicBezTo>
                    <a:pt x="632" y="824"/>
                    <a:pt x="624" y="800"/>
                    <a:pt x="616" y="780"/>
                  </a:cubicBezTo>
                  <a:cubicBezTo>
                    <a:pt x="608" y="764"/>
                    <a:pt x="608" y="744"/>
                    <a:pt x="624" y="728"/>
                  </a:cubicBezTo>
                  <a:cubicBezTo>
                    <a:pt x="628" y="728"/>
                    <a:pt x="632" y="728"/>
                    <a:pt x="636" y="728"/>
                  </a:cubicBezTo>
                  <a:cubicBezTo>
                    <a:pt x="664" y="776"/>
                    <a:pt x="660" y="828"/>
                    <a:pt x="656" y="876"/>
                  </a:cubicBezTo>
                  <a:close/>
                  <a:moveTo>
                    <a:pt x="728" y="1400"/>
                  </a:moveTo>
                  <a:cubicBezTo>
                    <a:pt x="724" y="1400"/>
                    <a:pt x="716" y="1392"/>
                    <a:pt x="720" y="1384"/>
                  </a:cubicBezTo>
                  <a:cubicBezTo>
                    <a:pt x="728" y="1364"/>
                    <a:pt x="716" y="1332"/>
                    <a:pt x="748" y="1332"/>
                  </a:cubicBezTo>
                  <a:cubicBezTo>
                    <a:pt x="752" y="1332"/>
                    <a:pt x="752" y="1341"/>
                    <a:pt x="756" y="1348"/>
                  </a:cubicBezTo>
                  <a:cubicBezTo>
                    <a:pt x="768" y="1372"/>
                    <a:pt x="756" y="1400"/>
                    <a:pt x="728" y="1400"/>
                  </a:cubicBezTo>
                  <a:close/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40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3" name="AutoShape 22">
              <a:extLst>
                <a:ext uri="{FF2B5EF4-FFF2-40B4-BE49-F238E27FC236}">
                  <a16:creationId xmlns:a16="http://schemas.microsoft.com/office/drawing/2014/main" id="{181B025E-0877-4289-81D5-2B3104558A8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586364" y="17133888"/>
              <a:ext cx="636587" cy="1516063"/>
            </a:xfrm>
            <a:custGeom>
              <a:avLst/>
              <a:gdLst>
                <a:gd name="T0" fmla="*/ 808464432 w 680"/>
                <a:gd name="T1" fmla="*/ 813928491 h 2335"/>
                <a:gd name="T2" fmla="*/ 808464432 w 680"/>
                <a:gd name="T3" fmla="*/ 813928491 h 2335"/>
                <a:gd name="T4" fmla="*/ 808464432 w 680"/>
                <a:gd name="T5" fmla="*/ 813928491 h 2335"/>
                <a:gd name="T6" fmla="*/ 808464432 w 680"/>
                <a:gd name="T7" fmla="*/ 813928491 h 2335"/>
                <a:gd name="T8" fmla="*/ 808464432 w 680"/>
                <a:gd name="T9" fmla="*/ 813928491 h 2335"/>
                <a:gd name="T10" fmla="*/ 808464432 w 680"/>
                <a:gd name="T11" fmla="*/ 813928491 h 2335"/>
                <a:gd name="T12" fmla="*/ 808464432 w 680"/>
                <a:gd name="T13" fmla="*/ 813928491 h 2335"/>
                <a:gd name="T14" fmla="*/ 808464432 w 680"/>
                <a:gd name="T15" fmla="*/ 813928491 h 2335"/>
                <a:gd name="T16" fmla="*/ 808464432 w 680"/>
                <a:gd name="T17" fmla="*/ 813928491 h 2335"/>
                <a:gd name="T18" fmla="*/ 808464432 w 680"/>
                <a:gd name="T19" fmla="*/ 813928491 h 2335"/>
                <a:gd name="T20" fmla="*/ 808464432 w 680"/>
                <a:gd name="T21" fmla="*/ 813928491 h 2335"/>
                <a:gd name="T22" fmla="*/ 808464432 w 680"/>
                <a:gd name="T23" fmla="*/ 813928491 h 2335"/>
                <a:gd name="T24" fmla="*/ 808464432 w 680"/>
                <a:gd name="T25" fmla="*/ 813928491 h 2335"/>
                <a:gd name="T26" fmla="*/ 808464432 w 680"/>
                <a:gd name="T27" fmla="*/ 813928491 h 2335"/>
                <a:gd name="T28" fmla="*/ 808464432 w 680"/>
                <a:gd name="T29" fmla="*/ 813928491 h 2335"/>
                <a:gd name="T30" fmla="*/ 808464432 w 680"/>
                <a:gd name="T31" fmla="*/ 813928491 h 2335"/>
                <a:gd name="T32" fmla="*/ 808464432 w 680"/>
                <a:gd name="T33" fmla="*/ 813928491 h 2335"/>
                <a:gd name="T34" fmla="*/ 808464432 w 680"/>
                <a:gd name="T35" fmla="*/ 813928491 h 2335"/>
                <a:gd name="T36" fmla="*/ 808464432 w 680"/>
                <a:gd name="T37" fmla="*/ 813928491 h 2335"/>
                <a:gd name="T38" fmla="*/ 808464432 w 680"/>
                <a:gd name="T39" fmla="*/ 813928491 h 2335"/>
                <a:gd name="T40" fmla="*/ 808464432 w 680"/>
                <a:gd name="T41" fmla="*/ 813928491 h 2335"/>
                <a:gd name="T42" fmla="*/ 808464432 w 680"/>
                <a:gd name="T43" fmla="*/ 813928491 h 2335"/>
                <a:gd name="T44" fmla="*/ 808464432 w 680"/>
                <a:gd name="T45" fmla="*/ 813928491 h 2335"/>
                <a:gd name="T46" fmla="*/ 808464432 w 680"/>
                <a:gd name="T47" fmla="*/ 813928491 h 2335"/>
                <a:gd name="T48" fmla="*/ 808464432 w 680"/>
                <a:gd name="T49" fmla="*/ 813928491 h 2335"/>
                <a:gd name="T50" fmla="*/ 808464432 w 680"/>
                <a:gd name="T51" fmla="*/ 813928491 h 2335"/>
                <a:gd name="T52" fmla="*/ 808464432 w 680"/>
                <a:gd name="T53" fmla="*/ 813928491 h 2335"/>
                <a:gd name="T54" fmla="*/ 808464432 w 680"/>
                <a:gd name="T55" fmla="*/ 813928491 h 2335"/>
                <a:gd name="T56" fmla="*/ 808464432 w 680"/>
                <a:gd name="T57" fmla="*/ 813928491 h 2335"/>
                <a:gd name="T58" fmla="*/ 808464432 w 680"/>
                <a:gd name="T59" fmla="*/ 813928491 h 2335"/>
                <a:gd name="T60" fmla="*/ 808464432 w 680"/>
                <a:gd name="T61" fmla="*/ 813928491 h 2335"/>
                <a:gd name="T62" fmla="*/ 808464432 w 680"/>
                <a:gd name="T63" fmla="*/ 813928491 h 2335"/>
                <a:gd name="T64" fmla="*/ 808464432 w 680"/>
                <a:gd name="T65" fmla="*/ 813928491 h 2335"/>
                <a:gd name="T66" fmla="*/ 808464432 w 680"/>
                <a:gd name="T67" fmla="*/ 813928491 h 2335"/>
                <a:gd name="T68" fmla="*/ 808464432 w 680"/>
                <a:gd name="T69" fmla="*/ 813928491 h 2335"/>
                <a:gd name="T70" fmla="*/ 808464432 w 680"/>
                <a:gd name="T71" fmla="*/ 813928491 h 2335"/>
                <a:gd name="T72" fmla="*/ 808464432 w 680"/>
                <a:gd name="T73" fmla="*/ 813928491 h 2335"/>
                <a:gd name="T74" fmla="*/ 808464432 w 680"/>
                <a:gd name="T75" fmla="*/ 813928491 h 2335"/>
                <a:gd name="T76" fmla="*/ 808464432 w 680"/>
                <a:gd name="T77" fmla="*/ 813928491 h 2335"/>
                <a:gd name="T78" fmla="*/ 808464432 w 680"/>
                <a:gd name="T79" fmla="*/ 813928491 h 2335"/>
                <a:gd name="T80" fmla="*/ 808464432 w 680"/>
                <a:gd name="T81" fmla="*/ 813928491 h 2335"/>
                <a:gd name="T82" fmla="*/ 808464432 w 680"/>
                <a:gd name="T83" fmla="*/ 813928491 h 2335"/>
                <a:gd name="T84" fmla="*/ 808464432 w 680"/>
                <a:gd name="T85" fmla="*/ 813928491 h 2335"/>
                <a:gd name="T86" fmla="*/ 808464432 w 680"/>
                <a:gd name="T87" fmla="*/ 813928491 h 2335"/>
                <a:gd name="T88" fmla="*/ 808464432 w 680"/>
                <a:gd name="T89" fmla="*/ 813928491 h 2335"/>
                <a:gd name="T90" fmla="*/ 808464432 w 680"/>
                <a:gd name="T91" fmla="*/ 813928491 h 2335"/>
                <a:gd name="T92" fmla="*/ 808464432 w 680"/>
                <a:gd name="T93" fmla="*/ 813928491 h 2335"/>
                <a:gd name="T94" fmla="*/ 808464432 w 680"/>
                <a:gd name="T95" fmla="*/ 813928491 h 2335"/>
                <a:gd name="T96" fmla="*/ 808464432 w 680"/>
                <a:gd name="T97" fmla="*/ 813928491 h 2335"/>
                <a:gd name="T98" fmla="*/ 808464432 w 680"/>
                <a:gd name="T99" fmla="*/ 813928491 h 2335"/>
                <a:gd name="T100" fmla="*/ 808464432 w 680"/>
                <a:gd name="T101" fmla="*/ 813928491 h 2335"/>
                <a:gd name="T102" fmla="*/ 808464432 w 680"/>
                <a:gd name="T103" fmla="*/ 813928491 h 2335"/>
                <a:gd name="T104" fmla="*/ 808464432 w 680"/>
                <a:gd name="T105" fmla="*/ 813928491 h 2335"/>
                <a:gd name="T106" fmla="*/ 808464432 w 680"/>
                <a:gd name="T107" fmla="*/ 813928491 h 2335"/>
                <a:gd name="T108" fmla="*/ 808464432 w 680"/>
                <a:gd name="T109" fmla="*/ 813928491 h 2335"/>
                <a:gd name="T110" fmla="*/ 808464432 w 680"/>
                <a:gd name="T111" fmla="*/ 813928491 h 2335"/>
                <a:gd name="T112" fmla="*/ 808464432 w 680"/>
                <a:gd name="T113" fmla="*/ 813928491 h 2335"/>
                <a:gd name="T114" fmla="*/ 808464432 w 680"/>
                <a:gd name="T115" fmla="*/ 813928491 h 233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0"/>
                <a:gd name="T175" fmla="*/ 0 h 2335"/>
                <a:gd name="T176" fmla="*/ 680 w 680"/>
                <a:gd name="T177" fmla="*/ 2335 h 233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0" h="2335">
                  <a:moveTo>
                    <a:pt x="676" y="998"/>
                  </a:moveTo>
                  <a:cubicBezTo>
                    <a:pt x="670" y="976"/>
                    <a:pt x="677" y="952"/>
                    <a:pt x="674" y="929"/>
                  </a:cubicBezTo>
                  <a:cubicBezTo>
                    <a:pt x="673" y="919"/>
                    <a:pt x="670" y="909"/>
                    <a:pt x="668" y="898"/>
                  </a:cubicBezTo>
                  <a:cubicBezTo>
                    <a:pt x="666" y="885"/>
                    <a:pt x="667" y="872"/>
                    <a:pt x="667" y="859"/>
                  </a:cubicBezTo>
                  <a:cubicBezTo>
                    <a:pt x="666" y="834"/>
                    <a:pt x="662" y="810"/>
                    <a:pt x="662" y="785"/>
                  </a:cubicBezTo>
                  <a:cubicBezTo>
                    <a:pt x="663" y="759"/>
                    <a:pt x="664" y="732"/>
                    <a:pt x="662" y="706"/>
                  </a:cubicBezTo>
                  <a:cubicBezTo>
                    <a:pt x="657" y="647"/>
                    <a:pt x="645" y="590"/>
                    <a:pt x="632" y="533"/>
                  </a:cubicBezTo>
                  <a:cubicBezTo>
                    <a:pt x="628" y="513"/>
                    <a:pt x="623" y="492"/>
                    <a:pt x="618" y="472"/>
                  </a:cubicBezTo>
                  <a:cubicBezTo>
                    <a:pt x="613" y="453"/>
                    <a:pt x="607" y="436"/>
                    <a:pt x="592" y="423"/>
                  </a:cubicBezTo>
                  <a:cubicBezTo>
                    <a:pt x="572" y="405"/>
                    <a:pt x="547" y="403"/>
                    <a:pt x="524" y="392"/>
                  </a:cubicBezTo>
                  <a:cubicBezTo>
                    <a:pt x="506" y="384"/>
                    <a:pt x="489" y="373"/>
                    <a:pt x="471" y="364"/>
                  </a:cubicBezTo>
                  <a:cubicBezTo>
                    <a:pt x="463" y="361"/>
                    <a:pt x="455" y="357"/>
                    <a:pt x="449" y="351"/>
                  </a:cubicBezTo>
                  <a:cubicBezTo>
                    <a:pt x="443" y="344"/>
                    <a:pt x="438" y="342"/>
                    <a:pt x="430" y="339"/>
                  </a:cubicBezTo>
                  <a:cubicBezTo>
                    <a:pt x="420" y="336"/>
                    <a:pt x="415" y="332"/>
                    <a:pt x="415" y="323"/>
                  </a:cubicBezTo>
                  <a:cubicBezTo>
                    <a:pt x="415" y="314"/>
                    <a:pt x="415" y="304"/>
                    <a:pt x="414" y="294"/>
                  </a:cubicBezTo>
                  <a:cubicBezTo>
                    <a:pt x="413" y="285"/>
                    <a:pt x="412" y="279"/>
                    <a:pt x="419" y="272"/>
                  </a:cubicBezTo>
                  <a:cubicBezTo>
                    <a:pt x="426" y="263"/>
                    <a:pt x="428" y="252"/>
                    <a:pt x="429" y="241"/>
                  </a:cubicBezTo>
                  <a:cubicBezTo>
                    <a:pt x="430" y="234"/>
                    <a:pt x="431" y="227"/>
                    <a:pt x="431" y="220"/>
                  </a:cubicBezTo>
                  <a:cubicBezTo>
                    <a:pt x="431" y="214"/>
                    <a:pt x="431" y="215"/>
                    <a:pt x="436" y="216"/>
                  </a:cubicBezTo>
                  <a:cubicBezTo>
                    <a:pt x="450" y="219"/>
                    <a:pt x="451" y="211"/>
                    <a:pt x="456" y="200"/>
                  </a:cubicBezTo>
                  <a:cubicBezTo>
                    <a:pt x="461" y="190"/>
                    <a:pt x="474" y="134"/>
                    <a:pt x="449" y="140"/>
                  </a:cubicBezTo>
                  <a:cubicBezTo>
                    <a:pt x="446" y="141"/>
                    <a:pt x="449" y="130"/>
                    <a:pt x="449" y="128"/>
                  </a:cubicBezTo>
                  <a:cubicBezTo>
                    <a:pt x="450" y="121"/>
                    <a:pt x="453" y="114"/>
                    <a:pt x="451" y="106"/>
                  </a:cubicBezTo>
                  <a:cubicBezTo>
                    <a:pt x="448" y="95"/>
                    <a:pt x="452" y="86"/>
                    <a:pt x="450" y="76"/>
                  </a:cubicBezTo>
                  <a:cubicBezTo>
                    <a:pt x="449" y="66"/>
                    <a:pt x="442" y="57"/>
                    <a:pt x="438" y="48"/>
                  </a:cubicBezTo>
                  <a:cubicBezTo>
                    <a:pt x="435" y="43"/>
                    <a:pt x="435" y="38"/>
                    <a:pt x="429" y="35"/>
                  </a:cubicBezTo>
                  <a:cubicBezTo>
                    <a:pt x="423" y="32"/>
                    <a:pt x="421" y="28"/>
                    <a:pt x="416" y="24"/>
                  </a:cubicBezTo>
                  <a:cubicBezTo>
                    <a:pt x="408" y="17"/>
                    <a:pt x="397" y="5"/>
                    <a:pt x="386" y="7"/>
                  </a:cubicBezTo>
                  <a:cubicBezTo>
                    <a:pt x="381" y="9"/>
                    <a:pt x="376" y="5"/>
                    <a:pt x="371" y="3"/>
                  </a:cubicBezTo>
                  <a:cubicBezTo>
                    <a:pt x="369" y="3"/>
                    <a:pt x="366" y="3"/>
                    <a:pt x="364" y="3"/>
                  </a:cubicBezTo>
                  <a:cubicBezTo>
                    <a:pt x="360" y="3"/>
                    <a:pt x="356" y="0"/>
                    <a:pt x="352" y="0"/>
                  </a:cubicBezTo>
                  <a:cubicBezTo>
                    <a:pt x="346" y="0"/>
                    <a:pt x="338" y="1"/>
                    <a:pt x="332" y="1"/>
                  </a:cubicBezTo>
                  <a:cubicBezTo>
                    <a:pt x="330" y="2"/>
                    <a:pt x="328" y="4"/>
                    <a:pt x="325" y="4"/>
                  </a:cubicBezTo>
                  <a:cubicBezTo>
                    <a:pt x="322" y="5"/>
                    <a:pt x="320" y="3"/>
                    <a:pt x="316" y="3"/>
                  </a:cubicBezTo>
                  <a:cubicBezTo>
                    <a:pt x="311" y="3"/>
                    <a:pt x="307" y="9"/>
                    <a:pt x="301" y="10"/>
                  </a:cubicBezTo>
                  <a:cubicBezTo>
                    <a:pt x="299" y="11"/>
                    <a:pt x="297" y="13"/>
                    <a:pt x="295" y="14"/>
                  </a:cubicBezTo>
                  <a:cubicBezTo>
                    <a:pt x="292" y="15"/>
                    <a:pt x="288" y="16"/>
                    <a:pt x="285" y="17"/>
                  </a:cubicBezTo>
                  <a:cubicBezTo>
                    <a:pt x="280" y="20"/>
                    <a:pt x="276" y="22"/>
                    <a:pt x="272" y="25"/>
                  </a:cubicBezTo>
                  <a:cubicBezTo>
                    <a:pt x="269" y="27"/>
                    <a:pt x="268" y="30"/>
                    <a:pt x="266" y="32"/>
                  </a:cubicBezTo>
                  <a:cubicBezTo>
                    <a:pt x="262" y="35"/>
                    <a:pt x="257" y="39"/>
                    <a:pt x="254" y="44"/>
                  </a:cubicBezTo>
                  <a:cubicBezTo>
                    <a:pt x="253" y="47"/>
                    <a:pt x="253" y="50"/>
                    <a:pt x="251" y="53"/>
                  </a:cubicBezTo>
                  <a:cubicBezTo>
                    <a:pt x="250" y="56"/>
                    <a:pt x="247" y="57"/>
                    <a:pt x="245" y="61"/>
                  </a:cubicBezTo>
                  <a:cubicBezTo>
                    <a:pt x="242" y="69"/>
                    <a:pt x="237" y="87"/>
                    <a:pt x="241" y="95"/>
                  </a:cubicBezTo>
                  <a:cubicBezTo>
                    <a:pt x="245" y="104"/>
                    <a:pt x="240" y="115"/>
                    <a:pt x="244" y="124"/>
                  </a:cubicBezTo>
                  <a:cubicBezTo>
                    <a:pt x="245" y="129"/>
                    <a:pt x="239" y="126"/>
                    <a:pt x="236" y="127"/>
                  </a:cubicBezTo>
                  <a:cubicBezTo>
                    <a:pt x="231" y="130"/>
                    <a:pt x="231" y="138"/>
                    <a:pt x="230" y="142"/>
                  </a:cubicBezTo>
                  <a:cubicBezTo>
                    <a:pt x="228" y="155"/>
                    <a:pt x="226" y="170"/>
                    <a:pt x="229" y="183"/>
                  </a:cubicBezTo>
                  <a:cubicBezTo>
                    <a:pt x="233" y="194"/>
                    <a:pt x="238" y="203"/>
                    <a:pt x="250" y="204"/>
                  </a:cubicBezTo>
                  <a:cubicBezTo>
                    <a:pt x="254" y="204"/>
                    <a:pt x="256" y="203"/>
                    <a:pt x="257" y="207"/>
                  </a:cubicBezTo>
                  <a:cubicBezTo>
                    <a:pt x="258" y="212"/>
                    <a:pt x="257" y="219"/>
                    <a:pt x="257" y="224"/>
                  </a:cubicBezTo>
                  <a:cubicBezTo>
                    <a:pt x="257" y="235"/>
                    <a:pt x="258" y="245"/>
                    <a:pt x="263" y="254"/>
                  </a:cubicBezTo>
                  <a:cubicBezTo>
                    <a:pt x="266" y="259"/>
                    <a:pt x="269" y="263"/>
                    <a:pt x="269" y="269"/>
                  </a:cubicBezTo>
                  <a:cubicBezTo>
                    <a:pt x="268" y="274"/>
                    <a:pt x="268" y="278"/>
                    <a:pt x="268" y="283"/>
                  </a:cubicBezTo>
                  <a:cubicBezTo>
                    <a:pt x="268" y="293"/>
                    <a:pt x="268" y="304"/>
                    <a:pt x="268" y="314"/>
                  </a:cubicBezTo>
                  <a:cubicBezTo>
                    <a:pt x="268" y="323"/>
                    <a:pt x="270" y="334"/>
                    <a:pt x="261" y="340"/>
                  </a:cubicBezTo>
                  <a:cubicBezTo>
                    <a:pt x="257" y="343"/>
                    <a:pt x="252" y="346"/>
                    <a:pt x="246" y="348"/>
                  </a:cubicBezTo>
                  <a:cubicBezTo>
                    <a:pt x="242" y="350"/>
                    <a:pt x="238" y="350"/>
                    <a:pt x="234" y="352"/>
                  </a:cubicBezTo>
                  <a:cubicBezTo>
                    <a:pt x="223" y="359"/>
                    <a:pt x="216" y="369"/>
                    <a:pt x="204" y="374"/>
                  </a:cubicBezTo>
                  <a:cubicBezTo>
                    <a:pt x="188" y="382"/>
                    <a:pt x="173" y="392"/>
                    <a:pt x="157" y="400"/>
                  </a:cubicBezTo>
                  <a:cubicBezTo>
                    <a:pt x="138" y="412"/>
                    <a:pt x="115" y="413"/>
                    <a:pt x="96" y="426"/>
                  </a:cubicBezTo>
                  <a:cubicBezTo>
                    <a:pt x="76" y="439"/>
                    <a:pt x="66" y="460"/>
                    <a:pt x="61" y="482"/>
                  </a:cubicBezTo>
                  <a:cubicBezTo>
                    <a:pt x="57" y="497"/>
                    <a:pt x="53" y="511"/>
                    <a:pt x="50" y="526"/>
                  </a:cubicBezTo>
                  <a:cubicBezTo>
                    <a:pt x="44" y="565"/>
                    <a:pt x="38" y="605"/>
                    <a:pt x="33" y="644"/>
                  </a:cubicBezTo>
                  <a:cubicBezTo>
                    <a:pt x="28" y="681"/>
                    <a:pt x="25" y="719"/>
                    <a:pt x="21" y="757"/>
                  </a:cubicBezTo>
                  <a:cubicBezTo>
                    <a:pt x="19" y="777"/>
                    <a:pt x="18" y="797"/>
                    <a:pt x="16" y="817"/>
                  </a:cubicBezTo>
                  <a:cubicBezTo>
                    <a:pt x="14" y="842"/>
                    <a:pt x="9" y="868"/>
                    <a:pt x="7" y="893"/>
                  </a:cubicBezTo>
                  <a:cubicBezTo>
                    <a:pt x="4" y="916"/>
                    <a:pt x="6" y="939"/>
                    <a:pt x="5" y="962"/>
                  </a:cubicBezTo>
                  <a:cubicBezTo>
                    <a:pt x="5" y="972"/>
                    <a:pt x="4" y="982"/>
                    <a:pt x="4" y="992"/>
                  </a:cubicBezTo>
                  <a:cubicBezTo>
                    <a:pt x="4" y="997"/>
                    <a:pt x="5" y="1002"/>
                    <a:pt x="4" y="1007"/>
                  </a:cubicBezTo>
                  <a:cubicBezTo>
                    <a:pt x="4" y="1016"/>
                    <a:pt x="2" y="1024"/>
                    <a:pt x="3" y="1032"/>
                  </a:cubicBezTo>
                  <a:cubicBezTo>
                    <a:pt x="3" y="1041"/>
                    <a:pt x="9" y="1051"/>
                    <a:pt x="7" y="1059"/>
                  </a:cubicBezTo>
                  <a:cubicBezTo>
                    <a:pt x="4" y="1069"/>
                    <a:pt x="8" y="1083"/>
                    <a:pt x="10" y="1094"/>
                  </a:cubicBezTo>
                  <a:cubicBezTo>
                    <a:pt x="12" y="1105"/>
                    <a:pt x="17" y="1115"/>
                    <a:pt x="8" y="1125"/>
                  </a:cubicBezTo>
                  <a:cubicBezTo>
                    <a:pt x="4" y="1129"/>
                    <a:pt x="3" y="1134"/>
                    <a:pt x="3" y="1140"/>
                  </a:cubicBezTo>
                  <a:cubicBezTo>
                    <a:pt x="3" y="1143"/>
                    <a:pt x="3" y="1146"/>
                    <a:pt x="3" y="1150"/>
                  </a:cubicBezTo>
                  <a:cubicBezTo>
                    <a:pt x="4" y="1153"/>
                    <a:pt x="8" y="1158"/>
                    <a:pt x="7" y="1161"/>
                  </a:cubicBezTo>
                  <a:cubicBezTo>
                    <a:pt x="5" y="1167"/>
                    <a:pt x="0" y="1172"/>
                    <a:pt x="4" y="1179"/>
                  </a:cubicBezTo>
                  <a:cubicBezTo>
                    <a:pt x="8" y="1185"/>
                    <a:pt x="14" y="1183"/>
                    <a:pt x="19" y="1186"/>
                  </a:cubicBezTo>
                  <a:cubicBezTo>
                    <a:pt x="22" y="1188"/>
                    <a:pt x="15" y="1195"/>
                    <a:pt x="14" y="1198"/>
                  </a:cubicBezTo>
                  <a:cubicBezTo>
                    <a:pt x="13" y="1204"/>
                    <a:pt x="14" y="1210"/>
                    <a:pt x="15" y="1215"/>
                  </a:cubicBezTo>
                  <a:cubicBezTo>
                    <a:pt x="16" y="1220"/>
                    <a:pt x="12" y="1220"/>
                    <a:pt x="12" y="1223"/>
                  </a:cubicBezTo>
                  <a:cubicBezTo>
                    <a:pt x="13" y="1227"/>
                    <a:pt x="16" y="1229"/>
                    <a:pt x="16" y="1233"/>
                  </a:cubicBezTo>
                  <a:cubicBezTo>
                    <a:pt x="17" y="1245"/>
                    <a:pt x="16" y="1256"/>
                    <a:pt x="14" y="1267"/>
                  </a:cubicBezTo>
                  <a:cubicBezTo>
                    <a:pt x="13" y="1275"/>
                    <a:pt x="20" y="1284"/>
                    <a:pt x="22" y="1291"/>
                  </a:cubicBezTo>
                  <a:cubicBezTo>
                    <a:pt x="26" y="1302"/>
                    <a:pt x="29" y="1313"/>
                    <a:pt x="34" y="1324"/>
                  </a:cubicBezTo>
                  <a:cubicBezTo>
                    <a:pt x="41" y="1343"/>
                    <a:pt x="57" y="1349"/>
                    <a:pt x="76" y="1355"/>
                  </a:cubicBezTo>
                  <a:cubicBezTo>
                    <a:pt x="80" y="1356"/>
                    <a:pt x="88" y="1359"/>
                    <a:pt x="92" y="1358"/>
                  </a:cubicBezTo>
                  <a:cubicBezTo>
                    <a:pt x="96" y="1357"/>
                    <a:pt x="98" y="1357"/>
                    <a:pt x="102" y="1358"/>
                  </a:cubicBezTo>
                  <a:cubicBezTo>
                    <a:pt x="109" y="1359"/>
                    <a:pt x="107" y="1373"/>
                    <a:pt x="108" y="1379"/>
                  </a:cubicBezTo>
                  <a:cubicBezTo>
                    <a:pt x="111" y="1404"/>
                    <a:pt x="115" y="1429"/>
                    <a:pt x="120" y="1453"/>
                  </a:cubicBezTo>
                  <a:cubicBezTo>
                    <a:pt x="124" y="1473"/>
                    <a:pt x="131" y="1492"/>
                    <a:pt x="135" y="1512"/>
                  </a:cubicBezTo>
                  <a:cubicBezTo>
                    <a:pt x="138" y="1532"/>
                    <a:pt x="139" y="1553"/>
                    <a:pt x="140" y="1573"/>
                  </a:cubicBezTo>
                  <a:cubicBezTo>
                    <a:pt x="143" y="1647"/>
                    <a:pt x="140" y="1720"/>
                    <a:pt x="145" y="1793"/>
                  </a:cubicBezTo>
                  <a:cubicBezTo>
                    <a:pt x="150" y="1860"/>
                    <a:pt x="153" y="1926"/>
                    <a:pt x="157" y="1992"/>
                  </a:cubicBezTo>
                  <a:cubicBezTo>
                    <a:pt x="158" y="2011"/>
                    <a:pt x="159" y="2029"/>
                    <a:pt x="159" y="2048"/>
                  </a:cubicBezTo>
                  <a:cubicBezTo>
                    <a:pt x="159" y="2053"/>
                    <a:pt x="160" y="2057"/>
                    <a:pt x="160" y="2062"/>
                  </a:cubicBezTo>
                  <a:cubicBezTo>
                    <a:pt x="160" y="2077"/>
                    <a:pt x="164" y="2090"/>
                    <a:pt x="167" y="2105"/>
                  </a:cubicBezTo>
                  <a:cubicBezTo>
                    <a:pt x="170" y="2114"/>
                    <a:pt x="165" y="2124"/>
                    <a:pt x="169" y="2133"/>
                  </a:cubicBezTo>
                  <a:cubicBezTo>
                    <a:pt x="171" y="2138"/>
                    <a:pt x="173" y="2140"/>
                    <a:pt x="173" y="2144"/>
                  </a:cubicBezTo>
                  <a:cubicBezTo>
                    <a:pt x="175" y="2162"/>
                    <a:pt x="176" y="2179"/>
                    <a:pt x="179" y="2196"/>
                  </a:cubicBezTo>
                  <a:cubicBezTo>
                    <a:pt x="180" y="2202"/>
                    <a:pt x="180" y="2210"/>
                    <a:pt x="184" y="2216"/>
                  </a:cubicBezTo>
                  <a:cubicBezTo>
                    <a:pt x="187" y="2221"/>
                    <a:pt x="192" y="2216"/>
                    <a:pt x="196" y="2217"/>
                  </a:cubicBezTo>
                  <a:cubicBezTo>
                    <a:pt x="205" y="2218"/>
                    <a:pt x="183" y="2238"/>
                    <a:pt x="183" y="2239"/>
                  </a:cubicBezTo>
                  <a:cubicBezTo>
                    <a:pt x="172" y="2249"/>
                    <a:pt x="165" y="2261"/>
                    <a:pt x="151" y="2268"/>
                  </a:cubicBezTo>
                  <a:cubicBezTo>
                    <a:pt x="142" y="2273"/>
                    <a:pt x="128" y="2275"/>
                    <a:pt x="124" y="2287"/>
                  </a:cubicBezTo>
                  <a:cubicBezTo>
                    <a:pt x="123" y="2291"/>
                    <a:pt x="125" y="2298"/>
                    <a:pt x="120" y="2301"/>
                  </a:cubicBezTo>
                  <a:cubicBezTo>
                    <a:pt x="117" y="2303"/>
                    <a:pt x="111" y="2303"/>
                    <a:pt x="111" y="2308"/>
                  </a:cubicBezTo>
                  <a:cubicBezTo>
                    <a:pt x="112" y="2315"/>
                    <a:pt x="117" y="2315"/>
                    <a:pt x="122" y="2316"/>
                  </a:cubicBezTo>
                  <a:cubicBezTo>
                    <a:pt x="128" y="2316"/>
                    <a:pt x="133" y="2318"/>
                    <a:pt x="138" y="2320"/>
                  </a:cubicBezTo>
                  <a:cubicBezTo>
                    <a:pt x="157" y="2323"/>
                    <a:pt x="177" y="2323"/>
                    <a:pt x="197" y="2323"/>
                  </a:cubicBezTo>
                  <a:cubicBezTo>
                    <a:pt x="215" y="2323"/>
                    <a:pt x="233" y="2322"/>
                    <a:pt x="251" y="2320"/>
                  </a:cubicBezTo>
                  <a:cubicBezTo>
                    <a:pt x="260" y="2320"/>
                    <a:pt x="271" y="2320"/>
                    <a:pt x="273" y="2309"/>
                  </a:cubicBezTo>
                  <a:cubicBezTo>
                    <a:pt x="275" y="2299"/>
                    <a:pt x="277" y="2294"/>
                    <a:pt x="287" y="2298"/>
                  </a:cubicBezTo>
                  <a:cubicBezTo>
                    <a:pt x="298" y="2302"/>
                    <a:pt x="305" y="2301"/>
                    <a:pt x="316" y="2298"/>
                  </a:cubicBezTo>
                  <a:cubicBezTo>
                    <a:pt x="323" y="2295"/>
                    <a:pt x="344" y="2293"/>
                    <a:pt x="343" y="2282"/>
                  </a:cubicBezTo>
                  <a:cubicBezTo>
                    <a:pt x="342" y="2275"/>
                    <a:pt x="342" y="2268"/>
                    <a:pt x="342" y="2262"/>
                  </a:cubicBezTo>
                  <a:cubicBezTo>
                    <a:pt x="342" y="2257"/>
                    <a:pt x="343" y="2250"/>
                    <a:pt x="341" y="2246"/>
                  </a:cubicBezTo>
                  <a:cubicBezTo>
                    <a:pt x="339" y="2243"/>
                    <a:pt x="335" y="2244"/>
                    <a:pt x="334" y="2243"/>
                  </a:cubicBezTo>
                  <a:cubicBezTo>
                    <a:pt x="332" y="2239"/>
                    <a:pt x="334" y="2230"/>
                    <a:pt x="334" y="2225"/>
                  </a:cubicBezTo>
                  <a:cubicBezTo>
                    <a:pt x="334" y="2221"/>
                    <a:pt x="334" y="2215"/>
                    <a:pt x="332" y="2211"/>
                  </a:cubicBezTo>
                  <a:cubicBezTo>
                    <a:pt x="330" y="2207"/>
                    <a:pt x="333" y="2204"/>
                    <a:pt x="335" y="2199"/>
                  </a:cubicBezTo>
                  <a:cubicBezTo>
                    <a:pt x="337" y="2194"/>
                    <a:pt x="335" y="2188"/>
                    <a:pt x="334" y="2183"/>
                  </a:cubicBezTo>
                  <a:cubicBezTo>
                    <a:pt x="333" y="2175"/>
                    <a:pt x="334" y="2167"/>
                    <a:pt x="333" y="2159"/>
                  </a:cubicBezTo>
                  <a:cubicBezTo>
                    <a:pt x="332" y="2142"/>
                    <a:pt x="331" y="2124"/>
                    <a:pt x="330" y="2106"/>
                  </a:cubicBezTo>
                  <a:cubicBezTo>
                    <a:pt x="328" y="2086"/>
                    <a:pt x="326" y="2067"/>
                    <a:pt x="324" y="2047"/>
                  </a:cubicBezTo>
                  <a:cubicBezTo>
                    <a:pt x="321" y="2027"/>
                    <a:pt x="323" y="2006"/>
                    <a:pt x="323" y="1985"/>
                  </a:cubicBezTo>
                  <a:cubicBezTo>
                    <a:pt x="322" y="1966"/>
                    <a:pt x="321" y="1947"/>
                    <a:pt x="319" y="1928"/>
                  </a:cubicBezTo>
                  <a:cubicBezTo>
                    <a:pt x="317" y="1902"/>
                    <a:pt x="318" y="1877"/>
                    <a:pt x="316" y="1852"/>
                  </a:cubicBezTo>
                  <a:cubicBezTo>
                    <a:pt x="313" y="1824"/>
                    <a:pt x="309" y="1796"/>
                    <a:pt x="298" y="1770"/>
                  </a:cubicBezTo>
                  <a:cubicBezTo>
                    <a:pt x="294" y="1759"/>
                    <a:pt x="290" y="1752"/>
                    <a:pt x="289" y="1740"/>
                  </a:cubicBezTo>
                  <a:cubicBezTo>
                    <a:pt x="288" y="1729"/>
                    <a:pt x="290" y="1718"/>
                    <a:pt x="289" y="1706"/>
                  </a:cubicBezTo>
                  <a:cubicBezTo>
                    <a:pt x="287" y="1683"/>
                    <a:pt x="283" y="1661"/>
                    <a:pt x="286" y="1638"/>
                  </a:cubicBezTo>
                  <a:cubicBezTo>
                    <a:pt x="289" y="1609"/>
                    <a:pt x="292" y="1580"/>
                    <a:pt x="296" y="1552"/>
                  </a:cubicBezTo>
                  <a:cubicBezTo>
                    <a:pt x="302" y="1520"/>
                    <a:pt x="305" y="1488"/>
                    <a:pt x="309" y="1456"/>
                  </a:cubicBezTo>
                  <a:cubicBezTo>
                    <a:pt x="312" y="1435"/>
                    <a:pt x="315" y="1415"/>
                    <a:pt x="319" y="1394"/>
                  </a:cubicBezTo>
                  <a:cubicBezTo>
                    <a:pt x="320" y="1384"/>
                    <a:pt x="318" y="1375"/>
                    <a:pt x="319" y="1365"/>
                  </a:cubicBezTo>
                  <a:cubicBezTo>
                    <a:pt x="320" y="1355"/>
                    <a:pt x="323" y="1345"/>
                    <a:pt x="322" y="1335"/>
                  </a:cubicBezTo>
                  <a:cubicBezTo>
                    <a:pt x="322" y="1326"/>
                    <a:pt x="322" y="1318"/>
                    <a:pt x="325" y="1309"/>
                  </a:cubicBezTo>
                  <a:cubicBezTo>
                    <a:pt x="327" y="1304"/>
                    <a:pt x="329" y="1292"/>
                    <a:pt x="332" y="1289"/>
                  </a:cubicBezTo>
                  <a:cubicBezTo>
                    <a:pt x="332" y="1290"/>
                    <a:pt x="336" y="1293"/>
                    <a:pt x="337" y="1293"/>
                  </a:cubicBezTo>
                  <a:cubicBezTo>
                    <a:pt x="341" y="1295"/>
                    <a:pt x="343" y="1295"/>
                    <a:pt x="344" y="1300"/>
                  </a:cubicBezTo>
                  <a:cubicBezTo>
                    <a:pt x="347" y="1311"/>
                    <a:pt x="349" y="1323"/>
                    <a:pt x="352" y="1334"/>
                  </a:cubicBezTo>
                  <a:cubicBezTo>
                    <a:pt x="357" y="1354"/>
                    <a:pt x="359" y="1375"/>
                    <a:pt x="361" y="1396"/>
                  </a:cubicBezTo>
                  <a:cubicBezTo>
                    <a:pt x="365" y="1433"/>
                    <a:pt x="372" y="1470"/>
                    <a:pt x="376" y="1507"/>
                  </a:cubicBezTo>
                  <a:cubicBezTo>
                    <a:pt x="378" y="1526"/>
                    <a:pt x="381" y="1544"/>
                    <a:pt x="384" y="1561"/>
                  </a:cubicBezTo>
                  <a:cubicBezTo>
                    <a:pt x="388" y="1578"/>
                    <a:pt x="390" y="1597"/>
                    <a:pt x="396" y="1613"/>
                  </a:cubicBezTo>
                  <a:cubicBezTo>
                    <a:pt x="404" y="1633"/>
                    <a:pt x="411" y="1652"/>
                    <a:pt x="415" y="1674"/>
                  </a:cubicBezTo>
                  <a:cubicBezTo>
                    <a:pt x="418" y="1695"/>
                    <a:pt x="422" y="1715"/>
                    <a:pt x="424" y="1736"/>
                  </a:cubicBezTo>
                  <a:cubicBezTo>
                    <a:pt x="429" y="1768"/>
                    <a:pt x="430" y="1800"/>
                    <a:pt x="433" y="1832"/>
                  </a:cubicBezTo>
                  <a:cubicBezTo>
                    <a:pt x="436" y="1867"/>
                    <a:pt x="440" y="1901"/>
                    <a:pt x="443" y="1936"/>
                  </a:cubicBezTo>
                  <a:cubicBezTo>
                    <a:pt x="447" y="1970"/>
                    <a:pt x="451" y="2004"/>
                    <a:pt x="455" y="2039"/>
                  </a:cubicBezTo>
                  <a:cubicBezTo>
                    <a:pt x="458" y="2067"/>
                    <a:pt x="457" y="2096"/>
                    <a:pt x="459" y="2124"/>
                  </a:cubicBezTo>
                  <a:cubicBezTo>
                    <a:pt x="460" y="2144"/>
                    <a:pt x="468" y="2163"/>
                    <a:pt x="471" y="2183"/>
                  </a:cubicBezTo>
                  <a:cubicBezTo>
                    <a:pt x="472" y="2192"/>
                    <a:pt x="471" y="2201"/>
                    <a:pt x="472" y="2210"/>
                  </a:cubicBezTo>
                  <a:cubicBezTo>
                    <a:pt x="472" y="2218"/>
                    <a:pt x="479" y="2223"/>
                    <a:pt x="478" y="2230"/>
                  </a:cubicBezTo>
                  <a:cubicBezTo>
                    <a:pt x="477" y="2234"/>
                    <a:pt x="478" y="2238"/>
                    <a:pt x="477" y="2243"/>
                  </a:cubicBezTo>
                  <a:cubicBezTo>
                    <a:pt x="477" y="2246"/>
                    <a:pt x="473" y="2245"/>
                    <a:pt x="471" y="2246"/>
                  </a:cubicBezTo>
                  <a:cubicBezTo>
                    <a:pt x="469" y="2248"/>
                    <a:pt x="469" y="2256"/>
                    <a:pt x="469" y="2259"/>
                  </a:cubicBezTo>
                  <a:cubicBezTo>
                    <a:pt x="468" y="2266"/>
                    <a:pt x="468" y="2274"/>
                    <a:pt x="468" y="2282"/>
                  </a:cubicBezTo>
                  <a:cubicBezTo>
                    <a:pt x="467" y="2289"/>
                    <a:pt x="468" y="2295"/>
                    <a:pt x="476" y="2298"/>
                  </a:cubicBezTo>
                  <a:cubicBezTo>
                    <a:pt x="480" y="2300"/>
                    <a:pt x="484" y="2303"/>
                    <a:pt x="489" y="2304"/>
                  </a:cubicBezTo>
                  <a:cubicBezTo>
                    <a:pt x="491" y="2305"/>
                    <a:pt x="497" y="2301"/>
                    <a:pt x="498" y="2302"/>
                  </a:cubicBezTo>
                  <a:cubicBezTo>
                    <a:pt x="501" y="2305"/>
                    <a:pt x="488" y="2317"/>
                    <a:pt x="497" y="2323"/>
                  </a:cubicBezTo>
                  <a:cubicBezTo>
                    <a:pt x="505" y="2329"/>
                    <a:pt x="519" y="2329"/>
                    <a:pt x="529" y="2330"/>
                  </a:cubicBezTo>
                  <a:cubicBezTo>
                    <a:pt x="550" y="2334"/>
                    <a:pt x="572" y="2335"/>
                    <a:pt x="594" y="2334"/>
                  </a:cubicBezTo>
                  <a:cubicBezTo>
                    <a:pt x="607" y="2333"/>
                    <a:pt x="620" y="2331"/>
                    <a:pt x="634" y="2331"/>
                  </a:cubicBezTo>
                  <a:cubicBezTo>
                    <a:pt x="645" y="2331"/>
                    <a:pt x="640" y="2319"/>
                    <a:pt x="634" y="2314"/>
                  </a:cubicBezTo>
                  <a:cubicBezTo>
                    <a:pt x="631" y="2312"/>
                    <a:pt x="630" y="2313"/>
                    <a:pt x="630" y="2309"/>
                  </a:cubicBezTo>
                  <a:cubicBezTo>
                    <a:pt x="630" y="2304"/>
                    <a:pt x="630" y="2298"/>
                    <a:pt x="629" y="2293"/>
                  </a:cubicBezTo>
                  <a:cubicBezTo>
                    <a:pt x="625" y="2283"/>
                    <a:pt x="615" y="2275"/>
                    <a:pt x="611" y="2265"/>
                  </a:cubicBezTo>
                  <a:cubicBezTo>
                    <a:pt x="606" y="2255"/>
                    <a:pt x="597" y="2249"/>
                    <a:pt x="594" y="2238"/>
                  </a:cubicBezTo>
                  <a:cubicBezTo>
                    <a:pt x="590" y="2228"/>
                    <a:pt x="591" y="2228"/>
                    <a:pt x="597" y="2219"/>
                  </a:cubicBezTo>
                  <a:cubicBezTo>
                    <a:pt x="604" y="2208"/>
                    <a:pt x="600" y="2196"/>
                    <a:pt x="598" y="2184"/>
                  </a:cubicBezTo>
                  <a:cubicBezTo>
                    <a:pt x="596" y="2174"/>
                    <a:pt x="595" y="2163"/>
                    <a:pt x="594" y="2152"/>
                  </a:cubicBezTo>
                  <a:cubicBezTo>
                    <a:pt x="592" y="2132"/>
                    <a:pt x="584" y="2106"/>
                    <a:pt x="593" y="2087"/>
                  </a:cubicBezTo>
                  <a:cubicBezTo>
                    <a:pt x="599" y="2074"/>
                    <a:pt x="597" y="2057"/>
                    <a:pt x="598" y="2043"/>
                  </a:cubicBezTo>
                  <a:cubicBezTo>
                    <a:pt x="598" y="2006"/>
                    <a:pt x="597" y="1969"/>
                    <a:pt x="596" y="1932"/>
                  </a:cubicBezTo>
                  <a:cubicBezTo>
                    <a:pt x="596" y="1891"/>
                    <a:pt x="595" y="1851"/>
                    <a:pt x="591" y="1810"/>
                  </a:cubicBezTo>
                  <a:cubicBezTo>
                    <a:pt x="590" y="1792"/>
                    <a:pt x="587" y="1773"/>
                    <a:pt x="586" y="1754"/>
                  </a:cubicBezTo>
                  <a:cubicBezTo>
                    <a:pt x="584" y="1732"/>
                    <a:pt x="585" y="1711"/>
                    <a:pt x="582" y="1689"/>
                  </a:cubicBezTo>
                  <a:cubicBezTo>
                    <a:pt x="579" y="1666"/>
                    <a:pt x="583" y="1642"/>
                    <a:pt x="584" y="1619"/>
                  </a:cubicBezTo>
                  <a:cubicBezTo>
                    <a:pt x="584" y="1586"/>
                    <a:pt x="589" y="1553"/>
                    <a:pt x="592" y="1520"/>
                  </a:cubicBezTo>
                  <a:cubicBezTo>
                    <a:pt x="596" y="1465"/>
                    <a:pt x="584" y="1412"/>
                    <a:pt x="584" y="1357"/>
                  </a:cubicBezTo>
                  <a:cubicBezTo>
                    <a:pt x="584" y="1352"/>
                    <a:pt x="583" y="1341"/>
                    <a:pt x="588" y="1338"/>
                  </a:cubicBezTo>
                  <a:cubicBezTo>
                    <a:pt x="592" y="1336"/>
                    <a:pt x="597" y="1335"/>
                    <a:pt x="601" y="1332"/>
                  </a:cubicBezTo>
                  <a:cubicBezTo>
                    <a:pt x="607" y="1329"/>
                    <a:pt x="615" y="1328"/>
                    <a:pt x="619" y="1324"/>
                  </a:cubicBezTo>
                  <a:cubicBezTo>
                    <a:pt x="622" y="1321"/>
                    <a:pt x="624" y="1319"/>
                    <a:pt x="629" y="1319"/>
                  </a:cubicBezTo>
                  <a:cubicBezTo>
                    <a:pt x="635" y="1318"/>
                    <a:pt x="636" y="1314"/>
                    <a:pt x="637" y="1309"/>
                  </a:cubicBezTo>
                  <a:cubicBezTo>
                    <a:pt x="639" y="1305"/>
                    <a:pt x="641" y="1304"/>
                    <a:pt x="645" y="1302"/>
                  </a:cubicBezTo>
                  <a:cubicBezTo>
                    <a:pt x="651" y="1300"/>
                    <a:pt x="652" y="1293"/>
                    <a:pt x="654" y="1288"/>
                  </a:cubicBezTo>
                  <a:cubicBezTo>
                    <a:pt x="656" y="1278"/>
                    <a:pt x="657" y="1268"/>
                    <a:pt x="660" y="1258"/>
                  </a:cubicBezTo>
                  <a:cubicBezTo>
                    <a:pt x="663" y="1247"/>
                    <a:pt x="661" y="1232"/>
                    <a:pt x="661" y="1220"/>
                  </a:cubicBezTo>
                  <a:cubicBezTo>
                    <a:pt x="661" y="1218"/>
                    <a:pt x="659" y="1207"/>
                    <a:pt x="661" y="1207"/>
                  </a:cubicBezTo>
                  <a:cubicBezTo>
                    <a:pt x="663" y="1207"/>
                    <a:pt x="666" y="1205"/>
                    <a:pt x="665" y="1203"/>
                  </a:cubicBezTo>
                  <a:cubicBezTo>
                    <a:pt x="665" y="1200"/>
                    <a:pt x="663" y="1199"/>
                    <a:pt x="663" y="1196"/>
                  </a:cubicBezTo>
                  <a:cubicBezTo>
                    <a:pt x="664" y="1189"/>
                    <a:pt x="667" y="1185"/>
                    <a:pt x="667" y="1178"/>
                  </a:cubicBezTo>
                  <a:cubicBezTo>
                    <a:pt x="666" y="1173"/>
                    <a:pt x="666" y="1167"/>
                    <a:pt x="663" y="1164"/>
                  </a:cubicBezTo>
                  <a:cubicBezTo>
                    <a:pt x="659" y="1158"/>
                    <a:pt x="664" y="1160"/>
                    <a:pt x="667" y="1156"/>
                  </a:cubicBezTo>
                  <a:cubicBezTo>
                    <a:pt x="671" y="1150"/>
                    <a:pt x="670" y="1138"/>
                    <a:pt x="668" y="1131"/>
                  </a:cubicBezTo>
                  <a:cubicBezTo>
                    <a:pt x="667" y="1127"/>
                    <a:pt x="665" y="1127"/>
                    <a:pt x="663" y="1123"/>
                  </a:cubicBezTo>
                  <a:cubicBezTo>
                    <a:pt x="661" y="1119"/>
                    <a:pt x="667" y="1112"/>
                    <a:pt x="669" y="1109"/>
                  </a:cubicBezTo>
                  <a:cubicBezTo>
                    <a:pt x="671" y="1103"/>
                    <a:pt x="673" y="1096"/>
                    <a:pt x="671" y="1089"/>
                  </a:cubicBezTo>
                  <a:cubicBezTo>
                    <a:pt x="670" y="1082"/>
                    <a:pt x="664" y="1076"/>
                    <a:pt x="667" y="1068"/>
                  </a:cubicBezTo>
                  <a:cubicBezTo>
                    <a:pt x="670" y="1062"/>
                    <a:pt x="674" y="1058"/>
                    <a:pt x="675" y="1052"/>
                  </a:cubicBezTo>
                  <a:cubicBezTo>
                    <a:pt x="676" y="1046"/>
                    <a:pt x="676" y="1041"/>
                    <a:pt x="676" y="1035"/>
                  </a:cubicBezTo>
                  <a:cubicBezTo>
                    <a:pt x="676" y="1022"/>
                    <a:pt x="680" y="1011"/>
                    <a:pt x="676" y="998"/>
                  </a:cubicBezTo>
                  <a:moveTo>
                    <a:pt x="95" y="1318"/>
                  </a:moveTo>
                  <a:cubicBezTo>
                    <a:pt x="91" y="1319"/>
                    <a:pt x="87" y="1323"/>
                    <a:pt x="86" y="1318"/>
                  </a:cubicBezTo>
                  <a:cubicBezTo>
                    <a:pt x="85" y="1310"/>
                    <a:pt x="85" y="1301"/>
                    <a:pt x="82" y="1294"/>
                  </a:cubicBezTo>
                  <a:cubicBezTo>
                    <a:pt x="80" y="1292"/>
                    <a:pt x="82" y="1291"/>
                    <a:pt x="83" y="1290"/>
                  </a:cubicBezTo>
                  <a:cubicBezTo>
                    <a:pt x="84" y="1286"/>
                    <a:pt x="81" y="1281"/>
                    <a:pt x="81" y="1278"/>
                  </a:cubicBezTo>
                  <a:cubicBezTo>
                    <a:pt x="80" y="1272"/>
                    <a:pt x="79" y="1266"/>
                    <a:pt x="86" y="1265"/>
                  </a:cubicBezTo>
                  <a:cubicBezTo>
                    <a:pt x="87" y="1265"/>
                    <a:pt x="94" y="1260"/>
                    <a:pt x="95" y="1262"/>
                  </a:cubicBezTo>
                  <a:cubicBezTo>
                    <a:pt x="98" y="1267"/>
                    <a:pt x="96" y="1278"/>
                    <a:pt x="96" y="1283"/>
                  </a:cubicBezTo>
                  <a:cubicBezTo>
                    <a:pt x="97" y="1291"/>
                    <a:pt x="97" y="1299"/>
                    <a:pt x="98" y="1307"/>
                  </a:cubicBezTo>
                  <a:cubicBezTo>
                    <a:pt x="99" y="1313"/>
                    <a:pt x="102" y="1316"/>
                    <a:pt x="95" y="1318"/>
                  </a:cubicBezTo>
                  <a:moveTo>
                    <a:pt x="146" y="764"/>
                  </a:moveTo>
                  <a:cubicBezTo>
                    <a:pt x="146" y="772"/>
                    <a:pt x="143" y="781"/>
                    <a:pt x="142" y="790"/>
                  </a:cubicBezTo>
                  <a:cubicBezTo>
                    <a:pt x="141" y="800"/>
                    <a:pt x="143" y="810"/>
                    <a:pt x="145" y="821"/>
                  </a:cubicBezTo>
                  <a:cubicBezTo>
                    <a:pt x="146" y="828"/>
                    <a:pt x="147" y="836"/>
                    <a:pt x="145" y="844"/>
                  </a:cubicBezTo>
                  <a:cubicBezTo>
                    <a:pt x="144" y="853"/>
                    <a:pt x="140" y="862"/>
                    <a:pt x="139" y="872"/>
                  </a:cubicBezTo>
                  <a:cubicBezTo>
                    <a:pt x="139" y="882"/>
                    <a:pt x="139" y="893"/>
                    <a:pt x="138" y="904"/>
                  </a:cubicBezTo>
                  <a:cubicBezTo>
                    <a:pt x="137" y="913"/>
                    <a:pt x="134" y="922"/>
                    <a:pt x="135" y="931"/>
                  </a:cubicBezTo>
                  <a:cubicBezTo>
                    <a:pt x="135" y="940"/>
                    <a:pt x="142" y="948"/>
                    <a:pt x="139" y="958"/>
                  </a:cubicBezTo>
                  <a:cubicBezTo>
                    <a:pt x="137" y="969"/>
                    <a:pt x="131" y="980"/>
                    <a:pt x="128" y="991"/>
                  </a:cubicBezTo>
                  <a:cubicBezTo>
                    <a:pt x="125" y="999"/>
                    <a:pt x="123" y="1007"/>
                    <a:pt x="122" y="1016"/>
                  </a:cubicBezTo>
                  <a:cubicBezTo>
                    <a:pt x="120" y="1023"/>
                    <a:pt x="116" y="1029"/>
                    <a:pt x="114" y="1036"/>
                  </a:cubicBezTo>
                  <a:cubicBezTo>
                    <a:pt x="110" y="1050"/>
                    <a:pt x="108" y="1065"/>
                    <a:pt x="106" y="1080"/>
                  </a:cubicBezTo>
                  <a:cubicBezTo>
                    <a:pt x="104" y="1087"/>
                    <a:pt x="96" y="1090"/>
                    <a:pt x="104" y="1095"/>
                  </a:cubicBezTo>
                  <a:cubicBezTo>
                    <a:pt x="108" y="1099"/>
                    <a:pt x="104" y="1113"/>
                    <a:pt x="103" y="1118"/>
                  </a:cubicBezTo>
                  <a:cubicBezTo>
                    <a:pt x="103" y="1120"/>
                    <a:pt x="101" y="1141"/>
                    <a:pt x="99" y="1142"/>
                  </a:cubicBezTo>
                  <a:cubicBezTo>
                    <a:pt x="96" y="1142"/>
                    <a:pt x="91" y="1128"/>
                    <a:pt x="91" y="1125"/>
                  </a:cubicBezTo>
                  <a:cubicBezTo>
                    <a:pt x="91" y="1119"/>
                    <a:pt x="92" y="1114"/>
                    <a:pt x="93" y="1108"/>
                  </a:cubicBezTo>
                  <a:cubicBezTo>
                    <a:pt x="93" y="1104"/>
                    <a:pt x="91" y="1099"/>
                    <a:pt x="92" y="1095"/>
                  </a:cubicBezTo>
                  <a:cubicBezTo>
                    <a:pt x="98" y="1080"/>
                    <a:pt x="100" y="1065"/>
                    <a:pt x="104" y="1050"/>
                  </a:cubicBezTo>
                  <a:cubicBezTo>
                    <a:pt x="106" y="1042"/>
                    <a:pt x="108" y="1034"/>
                    <a:pt x="110" y="1026"/>
                  </a:cubicBezTo>
                  <a:cubicBezTo>
                    <a:pt x="112" y="1018"/>
                    <a:pt x="118" y="1008"/>
                    <a:pt x="117" y="1000"/>
                  </a:cubicBezTo>
                  <a:cubicBezTo>
                    <a:pt x="117" y="994"/>
                    <a:pt x="115" y="988"/>
                    <a:pt x="117" y="982"/>
                  </a:cubicBezTo>
                  <a:cubicBezTo>
                    <a:pt x="118" y="977"/>
                    <a:pt x="120" y="973"/>
                    <a:pt x="121" y="969"/>
                  </a:cubicBezTo>
                  <a:cubicBezTo>
                    <a:pt x="123" y="958"/>
                    <a:pt x="122" y="947"/>
                    <a:pt x="124" y="936"/>
                  </a:cubicBezTo>
                  <a:cubicBezTo>
                    <a:pt x="126" y="924"/>
                    <a:pt x="130" y="918"/>
                    <a:pt x="126" y="906"/>
                  </a:cubicBezTo>
                  <a:cubicBezTo>
                    <a:pt x="124" y="897"/>
                    <a:pt x="129" y="888"/>
                    <a:pt x="132" y="879"/>
                  </a:cubicBezTo>
                  <a:cubicBezTo>
                    <a:pt x="135" y="868"/>
                    <a:pt x="133" y="860"/>
                    <a:pt x="133" y="849"/>
                  </a:cubicBezTo>
                  <a:cubicBezTo>
                    <a:pt x="132" y="842"/>
                    <a:pt x="129" y="832"/>
                    <a:pt x="131" y="825"/>
                  </a:cubicBezTo>
                  <a:cubicBezTo>
                    <a:pt x="137" y="805"/>
                    <a:pt x="133" y="784"/>
                    <a:pt x="137" y="764"/>
                  </a:cubicBezTo>
                  <a:cubicBezTo>
                    <a:pt x="140" y="753"/>
                    <a:pt x="142" y="743"/>
                    <a:pt x="144" y="733"/>
                  </a:cubicBezTo>
                  <a:cubicBezTo>
                    <a:pt x="144" y="731"/>
                    <a:pt x="145" y="722"/>
                    <a:pt x="147" y="720"/>
                  </a:cubicBezTo>
                  <a:cubicBezTo>
                    <a:pt x="147" y="721"/>
                    <a:pt x="147" y="731"/>
                    <a:pt x="147" y="732"/>
                  </a:cubicBezTo>
                  <a:cubicBezTo>
                    <a:pt x="147" y="736"/>
                    <a:pt x="148" y="738"/>
                    <a:pt x="148" y="742"/>
                  </a:cubicBezTo>
                  <a:cubicBezTo>
                    <a:pt x="150" y="749"/>
                    <a:pt x="147" y="756"/>
                    <a:pt x="146" y="764"/>
                  </a:cubicBezTo>
                  <a:moveTo>
                    <a:pt x="565" y="1169"/>
                  </a:moveTo>
                  <a:cubicBezTo>
                    <a:pt x="567" y="1152"/>
                    <a:pt x="564" y="1133"/>
                    <a:pt x="562" y="1116"/>
                  </a:cubicBezTo>
                  <a:cubicBezTo>
                    <a:pt x="561" y="1109"/>
                    <a:pt x="557" y="1103"/>
                    <a:pt x="563" y="1097"/>
                  </a:cubicBezTo>
                  <a:cubicBezTo>
                    <a:pt x="565" y="1095"/>
                    <a:pt x="571" y="1093"/>
                    <a:pt x="567" y="1088"/>
                  </a:cubicBezTo>
                  <a:cubicBezTo>
                    <a:pt x="564" y="1085"/>
                    <a:pt x="562" y="1087"/>
                    <a:pt x="561" y="1083"/>
                  </a:cubicBezTo>
                  <a:cubicBezTo>
                    <a:pt x="555" y="1062"/>
                    <a:pt x="549" y="1042"/>
                    <a:pt x="546" y="1020"/>
                  </a:cubicBezTo>
                  <a:cubicBezTo>
                    <a:pt x="543" y="994"/>
                    <a:pt x="534" y="969"/>
                    <a:pt x="535" y="943"/>
                  </a:cubicBezTo>
                  <a:cubicBezTo>
                    <a:pt x="535" y="924"/>
                    <a:pt x="533" y="904"/>
                    <a:pt x="533" y="885"/>
                  </a:cubicBezTo>
                  <a:cubicBezTo>
                    <a:pt x="533" y="863"/>
                    <a:pt x="534" y="840"/>
                    <a:pt x="534" y="817"/>
                  </a:cubicBezTo>
                  <a:cubicBezTo>
                    <a:pt x="534" y="797"/>
                    <a:pt x="533" y="778"/>
                    <a:pt x="534" y="758"/>
                  </a:cubicBezTo>
                  <a:cubicBezTo>
                    <a:pt x="534" y="750"/>
                    <a:pt x="534" y="741"/>
                    <a:pt x="535" y="733"/>
                  </a:cubicBezTo>
                  <a:cubicBezTo>
                    <a:pt x="536" y="728"/>
                    <a:pt x="537" y="722"/>
                    <a:pt x="537" y="717"/>
                  </a:cubicBezTo>
                  <a:cubicBezTo>
                    <a:pt x="537" y="715"/>
                    <a:pt x="537" y="710"/>
                    <a:pt x="538" y="709"/>
                  </a:cubicBezTo>
                  <a:cubicBezTo>
                    <a:pt x="537" y="710"/>
                    <a:pt x="545" y="727"/>
                    <a:pt x="546" y="729"/>
                  </a:cubicBezTo>
                  <a:cubicBezTo>
                    <a:pt x="549" y="739"/>
                    <a:pt x="549" y="749"/>
                    <a:pt x="550" y="760"/>
                  </a:cubicBezTo>
                  <a:cubicBezTo>
                    <a:pt x="550" y="769"/>
                    <a:pt x="551" y="778"/>
                    <a:pt x="553" y="787"/>
                  </a:cubicBezTo>
                  <a:cubicBezTo>
                    <a:pt x="555" y="799"/>
                    <a:pt x="553" y="810"/>
                    <a:pt x="555" y="822"/>
                  </a:cubicBezTo>
                  <a:cubicBezTo>
                    <a:pt x="556" y="836"/>
                    <a:pt x="554" y="848"/>
                    <a:pt x="554" y="862"/>
                  </a:cubicBezTo>
                  <a:cubicBezTo>
                    <a:pt x="553" y="874"/>
                    <a:pt x="555" y="887"/>
                    <a:pt x="557" y="899"/>
                  </a:cubicBezTo>
                  <a:cubicBezTo>
                    <a:pt x="558" y="908"/>
                    <a:pt x="559" y="916"/>
                    <a:pt x="562" y="925"/>
                  </a:cubicBezTo>
                  <a:cubicBezTo>
                    <a:pt x="566" y="936"/>
                    <a:pt x="565" y="952"/>
                    <a:pt x="566" y="964"/>
                  </a:cubicBezTo>
                  <a:cubicBezTo>
                    <a:pt x="566" y="978"/>
                    <a:pt x="572" y="989"/>
                    <a:pt x="573" y="1003"/>
                  </a:cubicBezTo>
                  <a:cubicBezTo>
                    <a:pt x="575" y="1015"/>
                    <a:pt x="575" y="1027"/>
                    <a:pt x="577" y="1038"/>
                  </a:cubicBezTo>
                  <a:cubicBezTo>
                    <a:pt x="579" y="1047"/>
                    <a:pt x="577" y="1053"/>
                    <a:pt x="575" y="1062"/>
                  </a:cubicBezTo>
                  <a:cubicBezTo>
                    <a:pt x="574" y="1072"/>
                    <a:pt x="580" y="1081"/>
                    <a:pt x="578" y="1090"/>
                  </a:cubicBezTo>
                  <a:cubicBezTo>
                    <a:pt x="578" y="1097"/>
                    <a:pt x="576" y="1103"/>
                    <a:pt x="576" y="1109"/>
                  </a:cubicBezTo>
                  <a:cubicBezTo>
                    <a:pt x="576" y="1115"/>
                    <a:pt x="578" y="1122"/>
                    <a:pt x="576" y="1127"/>
                  </a:cubicBezTo>
                  <a:cubicBezTo>
                    <a:pt x="574" y="1134"/>
                    <a:pt x="574" y="1136"/>
                    <a:pt x="578" y="1142"/>
                  </a:cubicBezTo>
                  <a:cubicBezTo>
                    <a:pt x="580" y="1144"/>
                    <a:pt x="584" y="1147"/>
                    <a:pt x="583" y="1150"/>
                  </a:cubicBezTo>
                  <a:cubicBezTo>
                    <a:pt x="582" y="1154"/>
                    <a:pt x="580" y="1158"/>
                    <a:pt x="578" y="1161"/>
                  </a:cubicBezTo>
                  <a:cubicBezTo>
                    <a:pt x="577" y="1163"/>
                    <a:pt x="571" y="1167"/>
                    <a:pt x="571" y="1167"/>
                  </a:cubicBezTo>
                  <a:cubicBezTo>
                    <a:pt x="571" y="1171"/>
                    <a:pt x="572" y="1173"/>
                    <a:pt x="568" y="1177"/>
                  </a:cubicBezTo>
                  <a:cubicBezTo>
                    <a:pt x="564" y="1180"/>
                    <a:pt x="565" y="1171"/>
                    <a:pt x="565" y="1169"/>
                  </a:cubicBezTo>
                  <a:moveTo>
                    <a:pt x="584" y="1252"/>
                  </a:moveTo>
                  <a:cubicBezTo>
                    <a:pt x="580" y="1259"/>
                    <a:pt x="583" y="1265"/>
                    <a:pt x="583" y="1271"/>
                  </a:cubicBezTo>
                  <a:cubicBezTo>
                    <a:pt x="583" y="1273"/>
                    <a:pt x="578" y="1289"/>
                    <a:pt x="579" y="1290"/>
                  </a:cubicBezTo>
                  <a:cubicBezTo>
                    <a:pt x="576" y="1288"/>
                    <a:pt x="576" y="1279"/>
                    <a:pt x="575" y="1276"/>
                  </a:cubicBezTo>
                  <a:cubicBezTo>
                    <a:pt x="574" y="1271"/>
                    <a:pt x="572" y="1266"/>
                    <a:pt x="572" y="1261"/>
                  </a:cubicBezTo>
                  <a:cubicBezTo>
                    <a:pt x="571" y="1257"/>
                    <a:pt x="569" y="1244"/>
                    <a:pt x="575" y="1242"/>
                  </a:cubicBezTo>
                  <a:cubicBezTo>
                    <a:pt x="577" y="1241"/>
                    <a:pt x="585" y="1249"/>
                    <a:pt x="584" y="1252"/>
                  </a:cubicBezTo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40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754" name="Gruppieren 281">
              <a:extLst>
                <a:ext uri="{FF2B5EF4-FFF2-40B4-BE49-F238E27FC236}">
                  <a16:creationId xmlns:a16="http://schemas.microsoft.com/office/drawing/2014/main" id="{64C5F8EE-B96E-4E9A-BDDA-76A7CA9F5CA6}"/>
                </a:ext>
              </a:extLst>
            </p:cNvPr>
            <p:cNvGrpSpPr/>
            <p:nvPr/>
          </p:nvGrpSpPr>
          <p:grpSpPr bwMode="auto">
            <a:xfrm>
              <a:off x="31029155" y="17193892"/>
              <a:ext cx="725032" cy="1464625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755" name="Freeform 156">
                <a:extLst>
                  <a:ext uri="{FF2B5EF4-FFF2-40B4-BE49-F238E27FC236}">
                    <a16:creationId xmlns:a16="http://schemas.microsoft.com/office/drawing/2014/main" id="{DA31230D-AA17-46AA-8EE7-C6F4B5A5D9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56" name="Freeform 159">
                <a:extLst>
                  <a:ext uri="{FF2B5EF4-FFF2-40B4-BE49-F238E27FC236}">
                    <a16:creationId xmlns:a16="http://schemas.microsoft.com/office/drawing/2014/main" id="{E7342623-516A-4E03-9CC4-AB7FC88418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57" name="Freeform 160">
                <a:extLst>
                  <a:ext uri="{FF2B5EF4-FFF2-40B4-BE49-F238E27FC236}">
                    <a16:creationId xmlns:a16="http://schemas.microsoft.com/office/drawing/2014/main" id="{A7F71389-3346-4545-B68B-2B0D05094E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58" name="Freeform 179">
                <a:extLst>
                  <a:ext uri="{FF2B5EF4-FFF2-40B4-BE49-F238E27FC236}">
                    <a16:creationId xmlns:a16="http://schemas.microsoft.com/office/drawing/2014/main" id="{D3D54B1A-696F-47C3-BA99-B7C3F7E4C7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59" name="Freeform 180">
                <a:extLst>
                  <a:ext uri="{FF2B5EF4-FFF2-40B4-BE49-F238E27FC236}">
                    <a16:creationId xmlns:a16="http://schemas.microsoft.com/office/drawing/2014/main" id="{32990ECB-54DB-4374-BEC5-8E4FEE4CA1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60" name="Freeform 181">
                <a:extLst>
                  <a:ext uri="{FF2B5EF4-FFF2-40B4-BE49-F238E27FC236}">
                    <a16:creationId xmlns:a16="http://schemas.microsoft.com/office/drawing/2014/main" id="{DCC7D059-D1E6-460C-B9AA-F962205FFD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61" name="Freeform 182">
                <a:extLst>
                  <a:ext uri="{FF2B5EF4-FFF2-40B4-BE49-F238E27FC236}">
                    <a16:creationId xmlns:a16="http://schemas.microsoft.com/office/drawing/2014/main" id="{9348BECD-E9AF-4A66-B29A-FAC54E79BB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62" name="Freeform 183">
                <a:extLst>
                  <a:ext uri="{FF2B5EF4-FFF2-40B4-BE49-F238E27FC236}">
                    <a16:creationId xmlns:a16="http://schemas.microsoft.com/office/drawing/2014/main" id="{F9FF4067-056D-4B32-9228-EA81BCCC9F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63" name="Freeform 184">
                <a:extLst>
                  <a:ext uri="{FF2B5EF4-FFF2-40B4-BE49-F238E27FC236}">
                    <a16:creationId xmlns:a16="http://schemas.microsoft.com/office/drawing/2014/main" id="{04149C78-A9C4-4A30-9971-1164B224D3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64" name="Freeform 185">
                <a:extLst>
                  <a:ext uri="{FF2B5EF4-FFF2-40B4-BE49-F238E27FC236}">
                    <a16:creationId xmlns:a16="http://schemas.microsoft.com/office/drawing/2014/main" id="{12DDF7B1-B825-454D-B838-FF806264E2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65" name="Freeform 186">
                <a:extLst>
                  <a:ext uri="{FF2B5EF4-FFF2-40B4-BE49-F238E27FC236}">
                    <a16:creationId xmlns:a16="http://schemas.microsoft.com/office/drawing/2014/main" id="{84DCFC07-35AF-40F0-A9E5-B7FB44AAC7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66" name="Freeform 187">
                <a:extLst>
                  <a:ext uri="{FF2B5EF4-FFF2-40B4-BE49-F238E27FC236}">
                    <a16:creationId xmlns:a16="http://schemas.microsoft.com/office/drawing/2014/main" id="{A9788929-D6AA-410A-990B-12D9342D22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67" name="Freeform 157">
                <a:extLst>
                  <a:ext uri="{FF2B5EF4-FFF2-40B4-BE49-F238E27FC236}">
                    <a16:creationId xmlns:a16="http://schemas.microsoft.com/office/drawing/2014/main" id="{18746BDE-2D2C-4D5C-91F9-2E8398296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68" name="Freeform 158">
                <a:extLst>
                  <a:ext uri="{FF2B5EF4-FFF2-40B4-BE49-F238E27FC236}">
                    <a16:creationId xmlns:a16="http://schemas.microsoft.com/office/drawing/2014/main" id="{66F9835F-9273-425D-9242-FBEC243A89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69" name="Freeform 161">
                <a:extLst>
                  <a:ext uri="{FF2B5EF4-FFF2-40B4-BE49-F238E27FC236}">
                    <a16:creationId xmlns:a16="http://schemas.microsoft.com/office/drawing/2014/main" id="{74C01260-BA04-401C-AD76-2CFF3DD435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70" name="Freeform 162">
                <a:extLst>
                  <a:ext uri="{FF2B5EF4-FFF2-40B4-BE49-F238E27FC236}">
                    <a16:creationId xmlns:a16="http://schemas.microsoft.com/office/drawing/2014/main" id="{0107415D-30AA-4777-A678-3B40260459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71" name="Freeform 163">
                <a:extLst>
                  <a:ext uri="{FF2B5EF4-FFF2-40B4-BE49-F238E27FC236}">
                    <a16:creationId xmlns:a16="http://schemas.microsoft.com/office/drawing/2014/main" id="{0194C334-9579-4BD9-9238-A5AA48D89B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72" name="Freeform 164">
                <a:extLst>
                  <a:ext uri="{FF2B5EF4-FFF2-40B4-BE49-F238E27FC236}">
                    <a16:creationId xmlns:a16="http://schemas.microsoft.com/office/drawing/2014/main" id="{1ADB9556-EB4D-4723-9DE1-A4E34E4ABA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73" name="Freeform 165">
                <a:extLst>
                  <a:ext uri="{FF2B5EF4-FFF2-40B4-BE49-F238E27FC236}">
                    <a16:creationId xmlns:a16="http://schemas.microsoft.com/office/drawing/2014/main" id="{DAA689FC-1643-48C8-9A65-D3AAEE35BC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74" name="Freeform 166">
                <a:extLst>
                  <a:ext uri="{FF2B5EF4-FFF2-40B4-BE49-F238E27FC236}">
                    <a16:creationId xmlns:a16="http://schemas.microsoft.com/office/drawing/2014/main" id="{7170B785-C7AE-4294-AABA-1F010982C0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75" name="Freeform 167">
                <a:extLst>
                  <a:ext uri="{FF2B5EF4-FFF2-40B4-BE49-F238E27FC236}">
                    <a16:creationId xmlns:a16="http://schemas.microsoft.com/office/drawing/2014/main" id="{69903021-B961-4E61-9B09-55115DAACE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76" name="Freeform 168">
                <a:extLst>
                  <a:ext uri="{FF2B5EF4-FFF2-40B4-BE49-F238E27FC236}">
                    <a16:creationId xmlns:a16="http://schemas.microsoft.com/office/drawing/2014/main" id="{9DC2C303-D699-409E-BE9B-F93DE7B01E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77" name="Freeform 169">
                <a:extLst>
                  <a:ext uri="{FF2B5EF4-FFF2-40B4-BE49-F238E27FC236}">
                    <a16:creationId xmlns:a16="http://schemas.microsoft.com/office/drawing/2014/main" id="{29559D23-EB3D-427E-838A-641ECF9C78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78" name="Freeform 170">
                <a:extLst>
                  <a:ext uri="{FF2B5EF4-FFF2-40B4-BE49-F238E27FC236}">
                    <a16:creationId xmlns:a16="http://schemas.microsoft.com/office/drawing/2014/main" id="{3E2F53A4-F2BB-482C-B77C-3563D4B265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79" name="Freeform 171">
                <a:extLst>
                  <a:ext uri="{FF2B5EF4-FFF2-40B4-BE49-F238E27FC236}">
                    <a16:creationId xmlns:a16="http://schemas.microsoft.com/office/drawing/2014/main" id="{F44BBF0A-8708-4BA4-8553-CC9C9B3243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80" name="Freeform 172">
                <a:extLst>
                  <a:ext uri="{FF2B5EF4-FFF2-40B4-BE49-F238E27FC236}">
                    <a16:creationId xmlns:a16="http://schemas.microsoft.com/office/drawing/2014/main" id="{399D847F-FBDB-452F-B0E9-86E93E133D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81" name="Freeform 173">
                <a:extLst>
                  <a:ext uri="{FF2B5EF4-FFF2-40B4-BE49-F238E27FC236}">
                    <a16:creationId xmlns:a16="http://schemas.microsoft.com/office/drawing/2014/main" id="{6469FD56-62ED-4866-A14C-8708F63B4B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82" name="Freeform 174">
                <a:extLst>
                  <a:ext uri="{FF2B5EF4-FFF2-40B4-BE49-F238E27FC236}">
                    <a16:creationId xmlns:a16="http://schemas.microsoft.com/office/drawing/2014/main" id="{06474446-0E0C-4921-9D06-FA299BC5AA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83" name="Freeform 175">
                <a:extLst>
                  <a:ext uri="{FF2B5EF4-FFF2-40B4-BE49-F238E27FC236}">
                    <a16:creationId xmlns:a16="http://schemas.microsoft.com/office/drawing/2014/main" id="{12BC79EA-52D6-4278-976E-422EC819C8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84" name="Freeform 176">
                <a:extLst>
                  <a:ext uri="{FF2B5EF4-FFF2-40B4-BE49-F238E27FC236}">
                    <a16:creationId xmlns:a16="http://schemas.microsoft.com/office/drawing/2014/main" id="{99E11571-F2CD-4734-93CE-D4A2A29BA3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85" name="Freeform 177">
                <a:extLst>
                  <a:ext uri="{FF2B5EF4-FFF2-40B4-BE49-F238E27FC236}">
                    <a16:creationId xmlns:a16="http://schemas.microsoft.com/office/drawing/2014/main" id="{4A185348-43EC-4A4D-BF3E-284EA64A04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86" name="Freeform 178">
                <a:extLst>
                  <a:ext uri="{FF2B5EF4-FFF2-40B4-BE49-F238E27FC236}">
                    <a16:creationId xmlns:a16="http://schemas.microsoft.com/office/drawing/2014/main" id="{B888B110-6EEB-4285-A8ED-A289139397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87" name="Freeform 188">
                <a:extLst>
                  <a:ext uri="{FF2B5EF4-FFF2-40B4-BE49-F238E27FC236}">
                    <a16:creationId xmlns:a16="http://schemas.microsoft.com/office/drawing/2014/main" id="{C3C03134-AF54-4E7C-B4CF-0AB933BE91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88" name="Freeform 103">
                <a:extLst>
                  <a:ext uri="{FF2B5EF4-FFF2-40B4-BE49-F238E27FC236}">
                    <a16:creationId xmlns:a16="http://schemas.microsoft.com/office/drawing/2014/main" id="{9ADDFEF9-DAA3-4877-8F5B-4673EE2244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89" name="Freeform 104">
                <a:extLst>
                  <a:ext uri="{FF2B5EF4-FFF2-40B4-BE49-F238E27FC236}">
                    <a16:creationId xmlns:a16="http://schemas.microsoft.com/office/drawing/2014/main" id="{EB8E51AC-02F2-4121-A432-69AB4F98690F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pic>
        <p:nvPicPr>
          <p:cNvPr id="2" name="Graphique 1">
            <a:extLst>
              <a:ext uri="{FF2B5EF4-FFF2-40B4-BE49-F238E27FC236}">
                <a16:creationId xmlns:a16="http://schemas.microsoft.com/office/drawing/2014/main" id="{D1EB351C-9D59-45A9-90A0-9856CE9AF1D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9113663" y="5492448"/>
            <a:ext cx="3133708" cy="3129031"/>
          </a:xfrm>
          <a:prstGeom prst="rect">
            <a:avLst/>
          </a:prstGeom>
        </p:spPr>
      </p:pic>
      <p:pic>
        <p:nvPicPr>
          <p:cNvPr id="4" name="Graphique 3">
            <a:extLst>
              <a:ext uri="{FF2B5EF4-FFF2-40B4-BE49-F238E27FC236}">
                <a16:creationId xmlns:a16="http://schemas.microsoft.com/office/drawing/2014/main" id="{F695F202-AF6A-429F-B82D-3F5069AC4B9E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8901963" y="11176049"/>
            <a:ext cx="4670029" cy="4670029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41100ACA-43DB-4A78-810C-E1FF59C76702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542317" y="28011722"/>
            <a:ext cx="4784970" cy="200166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F588DFF-C2AE-438A-A0B4-0172F3A88391}"/>
              </a:ext>
            </a:extLst>
          </p:cNvPr>
          <p:cNvSpPr/>
          <p:nvPr/>
        </p:nvSpPr>
        <p:spPr>
          <a:xfrm>
            <a:off x="7652322" y="28045209"/>
            <a:ext cx="27541211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7200" b="1" i="1" dirty="0">
                <a:solidFill>
                  <a:schemeClr val="bg1"/>
                </a:solidFill>
                <a:latin typeface="Gotham Rounded Bold" pitchFamily="50" charset="0"/>
              </a:rPr>
              <a:t>ENTERPRISE ARCHITECT</a:t>
            </a:r>
          </a:p>
          <a:p>
            <a:pPr algn="ctr"/>
            <a:r>
              <a:rPr lang="en-US" sz="6000" b="1" i="1" dirty="0">
                <a:solidFill>
                  <a:schemeClr val="bg1"/>
                </a:solidFill>
                <a:latin typeface="Gotham Rounded Bold" pitchFamily="50" charset="0"/>
              </a:rPr>
              <a:t>- 2020.2 -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F58B240E-1BAC-4970-B703-B63655C76E84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41414150" y="29532918"/>
            <a:ext cx="1727217" cy="773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4936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D8V5PHTQ.XAGbImBUyYQ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8B6676EFF43BD44A973BAF3C3F8897C" ma:contentTypeVersion="11" ma:contentTypeDescription="Crée un document." ma:contentTypeScope="" ma:versionID="16055b838173ea074c74866c85749e9f">
  <xsd:schema xmlns:xsd="http://www.w3.org/2001/XMLSchema" xmlns:xs="http://www.w3.org/2001/XMLSchema" xmlns:p="http://schemas.microsoft.com/office/2006/metadata/properties" xmlns:ns3="e2e26994-5e48-4994-8c16-0b6f61c4bc8a" xmlns:ns4="9f09b4db-7fdb-4a79-a1ce-e7e1d5ac2b17" targetNamespace="http://schemas.microsoft.com/office/2006/metadata/properties" ma:root="true" ma:fieldsID="7356ef530764415288c8753ef1e753cb" ns3:_="" ns4:_="">
    <xsd:import namespace="e2e26994-5e48-4994-8c16-0b6f61c4bc8a"/>
    <xsd:import namespace="9f09b4db-7fdb-4a79-a1ce-e7e1d5ac2b17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DateTaken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e26994-5e48-4994-8c16-0b6f61c4bc8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Partagé avec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Partagé avec dé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Partage du hachage d’indicateur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09b4db-7fdb-4a79-a1ce-e7e1d5ac2b1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F16E238-6F78-400E-91BC-2E8FE172025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1D738B1-17F4-4DF6-9C7F-6C2A8579A8F7}">
  <ds:schemaRefs>
    <ds:schemaRef ds:uri="http://purl.org/dc/dcmitype/"/>
    <ds:schemaRef ds:uri="9f09b4db-7fdb-4a79-a1ce-e7e1d5ac2b17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http://www.w3.org/XML/1998/namespace"/>
    <ds:schemaRef ds:uri="e2e26994-5e48-4994-8c16-0b6f61c4bc8a"/>
    <ds:schemaRef ds:uri="http://schemas.microsoft.com/office/2006/metadata/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F5BB5D04-D412-4AA0-9EA3-934E1E7D739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2e26994-5e48-4994-8c16-0b6f61c4bc8a"/>
    <ds:schemaRef ds:uri="9f09b4db-7fdb-4a79-a1ce-e7e1d5ac2b1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36</Words>
  <Application>Microsoft Office PowerPoint</Application>
  <PresentationFormat>Personnalisé</PresentationFormat>
  <Paragraphs>114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10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14" baseType="lpstr">
      <vt:lpstr>Symbol</vt:lpstr>
      <vt:lpstr>Bebas Neue</vt:lpstr>
      <vt:lpstr>Calibri Light</vt:lpstr>
      <vt:lpstr>Wingdings</vt:lpstr>
      <vt:lpstr>Aharoni</vt:lpstr>
      <vt:lpstr>Arial</vt:lpstr>
      <vt:lpstr>Gotham Rounded Bold</vt:lpstr>
      <vt:lpstr>Abadi Extra Light</vt:lpstr>
      <vt:lpstr>Michelin SemiBold</vt:lpstr>
      <vt:lpstr>Calibri</vt:lpstr>
      <vt:lpstr>Thème Office</vt:lpstr>
      <vt:lpstr>PRESENTATIONLOAD</vt:lpstr>
      <vt:lpstr>Diapositive think-cell</vt:lpstr>
      <vt:lpstr>Présentation PowerPoint</vt:lpstr>
    </vt:vector>
  </TitlesOfParts>
  <Company>GLUEND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Nicolas CHEVALIER</dc:creator>
  <cp:lastModifiedBy>nicolas chevalier</cp:lastModifiedBy>
  <cp:revision>251</cp:revision>
  <dcterms:created xsi:type="dcterms:W3CDTF">2019-06-27T06:55:10Z</dcterms:created>
  <dcterms:modified xsi:type="dcterms:W3CDTF">2020-10-20T16:44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8B6676EFF43BD44A973BAF3C3F8897C</vt:lpwstr>
  </property>
</Properties>
</file>